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  <p:sldMasterId id="2147483727" r:id="rId2"/>
  </p:sldMasterIdLst>
  <p:notesMasterIdLst>
    <p:notesMasterId r:id="rId63"/>
  </p:notesMasterIdLst>
  <p:sldIdLst>
    <p:sldId id="2147479232" r:id="rId3"/>
    <p:sldId id="2147479230" r:id="rId4"/>
    <p:sldId id="2147479176" r:id="rId5"/>
    <p:sldId id="2147479177" r:id="rId6"/>
    <p:sldId id="384" r:id="rId7"/>
    <p:sldId id="2147479217" r:id="rId8"/>
    <p:sldId id="2147479179" r:id="rId9"/>
    <p:sldId id="2147479180" r:id="rId10"/>
    <p:sldId id="2147479181" r:id="rId11"/>
    <p:sldId id="2147479190" r:id="rId12"/>
    <p:sldId id="2147479189" r:id="rId13"/>
    <p:sldId id="2147479184" r:id="rId14"/>
    <p:sldId id="2147479186" r:id="rId15"/>
    <p:sldId id="2147479185" r:id="rId16"/>
    <p:sldId id="2147479187" r:id="rId17"/>
    <p:sldId id="2147479191" r:id="rId18"/>
    <p:sldId id="2147479188" r:id="rId19"/>
    <p:sldId id="2147479192" r:id="rId20"/>
    <p:sldId id="284" r:id="rId21"/>
    <p:sldId id="285" r:id="rId22"/>
    <p:sldId id="286" r:id="rId23"/>
    <p:sldId id="287" r:id="rId24"/>
    <p:sldId id="2147479194" r:id="rId25"/>
    <p:sldId id="2147479195" r:id="rId26"/>
    <p:sldId id="383" r:id="rId27"/>
    <p:sldId id="385" r:id="rId28"/>
    <p:sldId id="406" r:id="rId29"/>
    <p:sldId id="409" r:id="rId30"/>
    <p:sldId id="410" r:id="rId31"/>
    <p:sldId id="2147479196" r:id="rId32"/>
    <p:sldId id="2147479198" r:id="rId33"/>
    <p:sldId id="2147479193" r:id="rId34"/>
    <p:sldId id="2147479197" r:id="rId35"/>
    <p:sldId id="2147479222" r:id="rId36"/>
    <p:sldId id="2147479226" r:id="rId37"/>
    <p:sldId id="2147479223" r:id="rId38"/>
    <p:sldId id="2147479227" r:id="rId39"/>
    <p:sldId id="2147479228" r:id="rId40"/>
    <p:sldId id="2147479202" r:id="rId41"/>
    <p:sldId id="2147479203" r:id="rId42"/>
    <p:sldId id="2147479204" r:id="rId43"/>
    <p:sldId id="2147479219" r:id="rId44"/>
    <p:sldId id="2147479229" r:id="rId45"/>
    <p:sldId id="2147479220" r:id="rId46"/>
    <p:sldId id="2147479225" r:id="rId47"/>
    <p:sldId id="2147479206" r:id="rId48"/>
    <p:sldId id="417" r:id="rId49"/>
    <p:sldId id="2147479207" r:id="rId50"/>
    <p:sldId id="2147479208" r:id="rId51"/>
    <p:sldId id="2147479211" r:id="rId52"/>
    <p:sldId id="2147479212" r:id="rId53"/>
    <p:sldId id="2147479209" r:id="rId54"/>
    <p:sldId id="2147479213" r:id="rId55"/>
    <p:sldId id="2147479210" r:id="rId56"/>
    <p:sldId id="2147479214" r:id="rId57"/>
    <p:sldId id="2147479215" r:id="rId58"/>
    <p:sldId id="2147479224" r:id="rId59"/>
    <p:sldId id="403" r:id="rId60"/>
    <p:sldId id="2147479216" r:id="rId61"/>
    <p:sldId id="2147479221" r:id="rId62"/>
  </p:sldIdLst>
  <p:sldSz cx="12192000" cy="6858000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AD1B5"/>
    <a:srgbClr val="1D313C"/>
    <a:srgbClr val="FFFFFF"/>
    <a:srgbClr val="00188F"/>
    <a:srgbClr val="FF7E00"/>
    <a:srgbClr val="FFF8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38" autoAdjust="0"/>
    <p:restoredTop sz="82921" autoAdjust="0"/>
  </p:normalViewPr>
  <p:slideViewPr>
    <p:cSldViewPr snapToGrid="0">
      <p:cViewPr varScale="1">
        <p:scale>
          <a:sx n="102" d="100"/>
          <a:sy n="102" d="100"/>
        </p:scale>
        <p:origin x="216" y="19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theme" Target="theme/theme1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tableStyles" Target="tableStyle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svg"/><Relationship Id="rId1" Type="http://schemas.openxmlformats.org/officeDocument/2006/relationships/image" Target="../media/image38.png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svg"/><Relationship Id="rId1" Type="http://schemas.openxmlformats.org/officeDocument/2006/relationships/image" Target="../media/image38.png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7FA3C01-B46B-486A-A398-D6491D3485E9}" type="doc">
      <dgm:prSet loTypeId="urn:microsoft.com/office/officeart/2008/layout/HexagonCluster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l-BE"/>
        </a:p>
      </dgm:t>
    </dgm:pt>
    <dgm:pt modelId="{091FA419-B324-46AF-A19F-B426F2434F7C}">
      <dgm:prSet phldrT="[Text]"/>
      <dgm:spPr/>
      <dgm:t>
        <a:bodyPr/>
        <a:lstStyle/>
        <a:p>
          <a:r>
            <a:rPr lang="en-US" dirty="0"/>
            <a:t>single environment</a:t>
          </a:r>
          <a:endParaRPr lang="nl-BE" dirty="0"/>
        </a:p>
      </dgm:t>
    </dgm:pt>
    <dgm:pt modelId="{A06ADDFE-A758-4DBE-AA57-C50228C2C494}" type="parTrans" cxnId="{E42A21BF-4F26-4D4B-AD5E-2943576FCF4E}">
      <dgm:prSet/>
      <dgm:spPr/>
      <dgm:t>
        <a:bodyPr/>
        <a:lstStyle/>
        <a:p>
          <a:endParaRPr lang="nl-BE"/>
        </a:p>
      </dgm:t>
    </dgm:pt>
    <dgm:pt modelId="{54A635B4-3E97-40FC-A001-FCD0DB93A4B2}" type="sibTrans" cxnId="{E42A21BF-4F26-4D4B-AD5E-2943576FCF4E}">
      <dgm:prSet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8000" b="-8000"/>
          </a:stretch>
        </a:blipFill>
      </dgm:spPr>
      <dgm:t>
        <a:bodyPr/>
        <a:lstStyle/>
        <a:p>
          <a:endParaRPr lang="nl-BE"/>
        </a:p>
      </dgm:t>
      <dgm:extLst>
        <a:ext uri="{E40237B7-FDA0-4F09-8148-C483321AD2D9}">
          <dgm14:cNvPr xmlns:dgm14="http://schemas.microsoft.com/office/drawing/2010/diagram" id="0" name="" descr="Database with solid fill"/>
        </a:ext>
      </dgm:extLst>
    </dgm:pt>
    <dgm:pt modelId="{65F40D74-476D-4254-AE7E-8BF60928237E}">
      <dgm:prSet phldrT="[Text]"/>
      <dgm:spPr/>
      <dgm:t>
        <a:bodyPr/>
        <a:lstStyle/>
        <a:p>
          <a:r>
            <a:rPr lang="en-US" dirty="0"/>
            <a:t>ETL/ELT once a day</a:t>
          </a:r>
          <a:endParaRPr lang="nl-BE" dirty="0"/>
        </a:p>
      </dgm:t>
    </dgm:pt>
    <dgm:pt modelId="{FECAC3ED-1400-4AA5-9A9B-43C5CE137AE3}" type="parTrans" cxnId="{5CC93E11-6407-44BB-9ECF-25B07C77EA96}">
      <dgm:prSet/>
      <dgm:spPr/>
      <dgm:t>
        <a:bodyPr/>
        <a:lstStyle/>
        <a:p>
          <a:endParaRPr lang="nl-BE"/>
        </a:p>
      </dgm:t>
    </dgm:pt>
    <dgm:pt modelId="{42E5942D-EFAC-4135-9760-095C0DA5CABF}" type="sibTrans" cxnId="{5CC93E11-6407-44BB-9ECF-25B07C77EA96}">
      <dgm:prSet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9000" b="-9000"/>
          </a:stretch>
        </a:blipFill>
      </dgm:spPr>
      <dgm:t>
        <a:bodyPr/>
        <a:lstStyle/>
        <a:p>
          <a:endParaRPr lang="nl-BE"/>
        </a:p>
      </dgm:t>
    </dgm:pt>
    <dgm:pt modelId="{2E833345-7841-4254-906A-09936330D3D7}">
      <dgm:prSet phldrT="[Text]"/>
      <dgm:spPr/>
      <dgm:t>
        <a:bodyPr/>
        <a:lstStyle/>
        <a:p>
          <a:r>
            <a:rPr lang="en-US" dirty="0"/>
            <a:t>€100/month</a:t>
          </a:r>
          <a:endParaRPr lang="nl-BE" dirty="0"/>
        </a:p>
      </dgm:t>
    </dgm:pt>
    <dgm:pt modelId="{6C8986CA-8E19-4AF5-B551-E677BB97B777}" type="parTrans" cxnId="{7B7D202E-2BBE-4BF3-B6EA-5554E9E853BA}">
      <dgm:prSet/>
      <dgm:spPr/>
      <dgm:t>
        <a:bodyPr/>
        <a:lstStyle/>
        <a:p>
          <a:endParaRPr lang="nl-BE"/>
        </a:p>
      </dgm:t>
    </dgm:pt>
    <dgm:pt modelId="{41457802-B2CF-4106-8341-EA73CF90F411}" type="sibTrans" cxnId="{7B7D202E-2BBE-4BF3-B6EA-5554E9E853BA}">
      <dgm:prSet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 t="-8000" b="-8000"/>
          </a:stretch>
        </a:blipFill>
      </dgm:spPr>
      <dgm:t>
        <a:bodyPr/>
        <a:lstStyle/>
        <a:p>
          <a:endParaRPr lang="nl-BE"/>
        </a:p>
      </dgm:t>
      <dgm:extLst>
        <a:ext uri="{E40237B7-FDA0-4F09-8148-C483321AD2D9}">
          <dgm14:cNvPr xmlns:dgm14="http://schemas.microsoft.com/office/drawing/2010/diagram" id="0" name="" descr="Cloud with solid fill"/>
        </a:ext>
      </dgm:extLst>
    </dgm:pt>
    <dgm:pt modelId="{5859CF7C-702E-4757-B09B-F7F42C28F0AC}" type="pres">
      <dgm:prSet presAssocID="{27FA3C01-B46B-486A-A398-D6491D3485E9}" presName="Name0" presStyleCnt="0">
        <dgm:presLayoutVars>
          <dgm:chMax val="21"/>
          <dgm:chPref val="21"/>
        </dgm:presLayoutVars>
      </dgm:prSet>
      <dgm:spPr/>
    </dgm:pt>
    <dgm:pt modelId="{53AAB3B3-DCD0-4E69-AFF4-5DC5289AE008}" type="pres">
      <dgm:prSet presAssocID="{091FA419-B324-46AF-A19F-B426F2434F7C}" presName="text1" presStyleCnt="0"/>
      <dgm:spPr/>
    </dgm:pt>
    <dgm:pt modelId="{D3652DA4-3863-4898-BF1F-573C7BC992FD}" type="pres">
      <dgm:prSet presAssocID="{091FA419-B324-46AF-A19F-B426F2434F7C}" presName="textRepeatNode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F17F19D2-F387-48C1-BD9E-C732BDE5FADD}" type="pres">
      <dgm:prSet presAssocID="{091FA419-B324-46AF-A19F-B426F2434F7C}" presName="textaccent1" presStyleCnt="0"/>
      <dgm:spPr/>
    </dgm:pt>
    <dgm:pt modelId="{A8F9A003-BA13-4D3B-8494-7690322C15E4}" type="pres">
      <dgm:prSet presAssocID="{091FA419-B324-46AF-A19F-B426F2434F7C}" presName="accentRepeatNode" presStyleLbl="solidAlignAcc1" presStyleIdx="0" presStyleCnt="6"/>
      <dgm:spPr>
        <a:solidFill>
          <a:srgbClr val="FF7E00"/>
        </a:solidFill>
      </dgm:spPr>
    </dgm:pt>
    <dgm:pt modelId="{20D6AB02-DE07-415F-B9A2-679427881F44}" type="pres">
      <dgm:prSet presAssocID="{54A635B4-3E97-40FC-A001-FCD0DB93A4B2}" presName="image1" presStyleCnt="0"/>
      <dgm:spPr/>
    </dgm:pt>
    <dgm:pt modelId="{10C31060-AEB8-4CAC-8872-75AD33A56FB0}" type="pres">
      <dgm:prSet presAssocID="{54A635B4-3E97-40FC-A001-FCD0DB93A4B2}" presName="imageRepeatNode" presStyleLbl="alignAcc1" presStyleIdx="0" presStyleCnt="3"/>
      <dgm:spPr/>
    </dgm:pt>
    <dgm:pt modelId="{33F6A8E4-DE37-4A40-B561-B71987D9BD3A}" type="pres">
      <dgm:prSet presAssocID="{54A635B4-3E97-40FC-A001-FCD0DB93A4B2}" presName="imageaccent1" presStyleCnt="0"/>
      <dgm:spPr/>
    </dgm:pt>
    <dgm:pt modelId="{9209AA7E-3F5B-4A33-A495-18C6A7C01B36}" type="pres">
      <dgm:prSet presAssocID="{54A635B4-3E97-40FC-A001-FCD0DB93A4B2}" presName="accentRepeatNode" presStyleLbl="solidAlignAcc1" presStyleIdx="1" presStyleCnt="6" custLinFactX="15221" custLinFactY="-144997" custLinFactNeighborX="100000" custLinFactNeighborY="-200000"/>
      <dgm:spPr>
        <a:ln>
          <a:solidFill>
            <a:schemeClr val="bg1"/>
          </a:solidFill>
        </a:ln>
      </dgm:spPr>
    </dgm:pt>
    <dgm:pt modelId="{FD16300E-F2C8-4F52-8670-BDC39FA46C83}" type="pres">
      <dgm:prSet presAssocID="{65F40D74-476D-4254-AE7E-8BF60928237E}" presName="text2" presStyleCnt="0"/>
      <dgm:spPr/>
    </dgm:pt>
    <dgm:pt modelId="{8D753672-9528-44E4-85CD-6F83D1DDBDEF}" type="pres">
      <dgm:prSet presAssocID="{65F40D74-476D-4254-AE7E-8BF60928237E}" presName="textRepeatNode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70D4788D-9109-49F1-B517-B0BF99E0B8AA}" type="pres">
      <dgm:prSet presAssocID="{65F40D74-476D-4254-AE7E-8BF60928237E}" presName="textaccent2" presStyleCnt="0"/>
      <dgm:spPr/>
    </dgm:pt>
    <dgm:pt modelId="{913332C9-D757-449E-A19B-DCB2399868F8}" type="pres">
      <dgm:prSet presAssocID="{65F40D74-476D-4254-AE7E-8BF60928237E}" presName="accentRepeatNode" presStyleLbl="solidAlignAcc1" presStyleIdx="2" presStyleCnt="6"/>
      <dgm:spPr>
        <a:solidFill>
          <a:srgbClr val="FF7E00"/>
        </a:solidFill>
      </dgm:spPr>
    </dgm:pt>
    <dgm:pt modelId="{BCDC0385-64BA-4E19-B8C8-31F2D3594825}" type="pres">
      <dgm:prSet presAssocID="{42E5942D-EFAC-4135-9760-095C0DA5CABF}" presName="image2" presStyleCnt="0"/>
      <dgm:spPr/>
    </dgm:pt>
    <dgm:pt modelId="{0F1FC6AD-A203-47E0-82FF-918BD9DCCCDD}" type="pres">
      <dgm:prSet presAssocID="{42E5942D-EFAC-4135-9760-095C0DA5CABF}" presName="imageRepeatNode" presStyleLbl="alignAcc1" presStyleIdx="1" presStyleCnt="3"/>
      <dgm:spPr/>
    </dgm:pt>
    <dgm:pt modelId="{B2E29442-4286-4BF1-99A5-A195AE1CE8BA}" type="pres">
      <dgm:prSet presAssocID="{42E5942D-EFAC-4135-9760-095C0DA5CABF}" presName="imageaccent2" presStyleCnt="0"/>
      <dgm:spPr/>
    </dgm:pt>
    <dgm:pt modelId="{A52D3D66-8EA5-44A5-96EF-9BE1C66BFEA2}" type="pres">
      <dgm:prSet presAssocID="{42E5942D-EFAC-4135-9760-095C0DA5CABF}" presName="accentRepeatNode" presStyleLbl="solidAlignAcc1" presStyleIdx="3" presStyleCnt="6" custLinFactX="100000" custLinFactY="-81124" custLinFactNeighborX="100707" custLinFactNeighborY="-100000"/>
      <dgm:spPr>
        <a:ln>
          <a:solidFill>
            <a:schemeClr val="bg1"/>
          </a:solidFill>
        </a:ln>
      </dgm:spPr>
    </dgm:pt>
    <dgm:pt modelId="{7EBEC382-DF4F-4482-A651-6D456D57D35F}" type="pres">
      <dgm:prSet presAssocID="{2E833345-7841-4254-906A-09936330D3D7}" presName="text3" presStyleCnt="0"/>
      <dgm:spPr/>
    </dgm:pt>
    <dgm:pt modelId="{15C3ECE6-5C26-4580-B66B-A9A32C32DAB0}" type="pres">
      <dgm:prSet presAssocID="{2E833345-7841-4254-906A-09936330D3D7}" presName="textRepeatNode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D5D33E15-B0F3-472C-BFCB-242DEE8B6A5C}" type="pres">
      <dgm:prSet presAssocID="{2E833345-7841-4254-906A-09936330D3D7}" presName="textaccent3" presStyleCnt="0"/>
      <dgm:spPr/>
    </dgm:pt>
    <dgm:pt modelId="{530F34FC-9025-4CB5-8312-668515940FA8}" type="pres">
      <dgm:prSet presAssocID="{2E833345-7841-4254-906A-09936330D3D7}" presName="accentRepeatNode" presStyleLbl="solidAlignAcc1" presStyleIdx="4" presStyleCnt="6"/>
      <dgm:spPr>
        <a:solidFill>
          <a:schemeClr val="accent1"/>
        </a:solidFill>
      </dgm:spPr>
    </dgm:pt>
    <dgm:pt modelId="{C5E2B2A4-4029-4BEE-8A25-D9EE145452E8}" type="pres">
      <dgm:prSet presAssocID="{41457802-B2CF-4106-8341-EA73CF90F411}" presName="image3" presStyleCnt="0"/>
      <dgm:spPr/>
    </dgm:pt>
    <dgm:pt modelId="{D7D4EBB9-CE95-472A-BE6B-6AEF034729F1}" type="pres">
      <dgm:prSet presAssocID="{41457802-B2CF-4106-8341-EA73CF90F411}" presName="imageRepeatNode" presStyleLbl="alignAcc1" presStyleIdx="2" presStyleCnt="3"/>
      <dgm:spPr/>
    </dgm:pt>
    <dgm:pt modelId="{48C22D17-5EEB-4504-9100-4408771EAC8B}" type="pres">
      <dgm:prSet presAssocID="{41457802-B2CF-4106-8341-EA73CF90F411}" presName="imageaccent3" presStyleCnt="0"/>
      <dgm:spPr/>
    </dgm:pt>
    <dgm:pt modelId="{B7DB2206-5D7E-417F-AA75-0D4BBE2251FE}" type="pres">
      <dgm:prSet presAssocID="{41457802-B2CF-4106-8341-EA73CF90F411}" presName="accentRepeatNode" presStyleLbl="solidAlignAcc1" presStyleIdx="5" presStyleCnt="6" custLinFactX="44955" custLinFactY="-166559" custLinFactNeighborX="100000" custLinFactNeighborY="-200000"/>
      <dgm:spPr>
        <a:ln>
          <a:solidFill>
            <a:schemeClr val="bg1"/>
          </a:solidFill>
        </a:ln>
      </dgm:spPr>
    </dgm:pt>
  </dgm:ptLst>
  <dgm:cxnLst>
    <dgm:cxn modelId="{5CC93E11-6407-44BB-9ECF-25B07C77EA96}" srcId="{27FA3C01-B46B-486A-A398-D6491D3485E9}" destId="{65F40D74-476D-4254-AE7E-8BF60928237E}" srcOrd="1" destOrd="0" parTransId="{FECAC3ED-1400-4AA5-9A9B-43C5CE137AE3}" sibTransId="{42E5942D-EFAC-4135-9760-095C0DA5CABF}"/>
    <dgm:cxn modelId="{81342D17-64C5-4D91-86B0-611269FBF655}" type="presOf" srcId="{65F40D74-476D-4254-AE7E-8BF60928237E}" destId="{8D753672-9528-44E4-85CD-6F83D1DDBDEF}" srcOrd="0" destOrd="0" presId="urn:microsoft.com/office/officeart/2008/layout/HexagonCluster"/>
    <dgm:cxn modelId="{7B7D202E-2BBE-4BF3-B6EA-5554E9E853BA}" srcId="{27FA3C01-B46B-486A-A398-D6491D3485E9}" destId="{2E833345-7841-4254-906A-09936330D3D7}" srcOrd="2" destOrd="0" parTransId="{6C8986CA-8E19-4AF5-B551-E677BB97B777}" sibTransId="{41457802-B2CF-4106-8341-EA73CF90F411}"/>
    <dgm:cxn modelId="{02596633-FC42-43EC-9051-1BBDF7B46556}" type="presOf" srcId="{091FA419-B324-46AF-A19F-B426F2434F7C}" destId="{D3652DA4-3863-4898-BF1F-573C7BC992FD}" srcOrd="0" destOrd="0" presId="urn:microsoft.com/office/officeart/2008/layout/HexagonCluster"/>
    <dgm:cxn modelId="{5BC4CA3C-5908-4E8C-B710-88DA14EFBCD2}" type="presOf" srcId="{42E5942D-EFAC-4135-9760-095C0DA5CABF}" destId="{0F1FC6AD-A203-47E0-82FF-918BD9DCCCDD}" srcOrd="0" destOrd="0" presId="urn:microsoft.com/office/officeart/2008/layout/HexagonCluster"/>
    <dgm:cxn modelId="{DB9CC340-0E37-4D00-B97D-34A86312B49A}" type="presOf" srcId="{54A635B4-3E97-40FC-A001-FCD0DB93A4B2}" destId="{10C31060-AEB8-4CAC-8872-75AD33A56FB0}" srcOrd="0" destOrd="0" presId="urn:microsoft.com/office/officeart/2008/layout/HexagonCluster"/>
    <dgm:cxn modelId="{E6B23A7E-78D0-4CCE-B574-E9BAE436F77B}" type="presOf" srcId="{41457802-B2CF-4106-8341-EA73CF90F411}" destId="{D7D4EBB9-CE95-472A-BE6B-6AEF034729F1}" srcOrd="0" destOrd="0" presId="urn:microsoft.com/office/officeart/2008/layout/HexagonCluster"/>
    <dgm:cxn modelId="{E42A21BF-4F26-4D4B-AD5E-2943576FCF4E}" srcId="{27FA3C01-B46B-486A-A398-D6491D3485E9}" destId="{091FA419-B324-46AF-A19F-B426F2434F7C}" srcOrd="0" destOrd="0" parTransId="{A06ADDFE-A758-4DBE-AA57-C50228C2C494}" sibTransId="{54A635B4-3E97-40FC-A001-FCD0DB93A4B2}"/>
    <dgm:cxn modelId="{C65DD0C5-B3AA-4858-91D1-9DB356CD8DFF}" type="presOf" srcId="{27FA3C01-B46B-486A-A398-D6491D3485E9}" destId="{5859CF7C-702E-4757-B09B-F7F42C28F0AC}" srcOrd="0" destOrd="0" presId="urn:microsoft.com/office/officeart/2008/layout/HexagonCluster"/>
    <dgm:cxn modelId="{5969BBD6-C8DA-4313-BA7D-A0E846640014}" type="presOf" srcId="{2E833345-7841-4254-906A-09936330D3D7}" destId="{15C3ECE6-5C26-4580-B66B-A9A32C32DAB0}" srcOrd="0" destOrd="0" presId="urn:microsoft.com/office/officeart/2008/layout/HexagonCluster"/>
    <dgm:cxn modelId="{CFC8238A-3418-4366-8530-207AC816CB79}" type="presParOf" srcId="{5859CF7C-702E-4757-B09B-F7F42C28F0AC}" destId="{53AAB3B3-DCD0-4E69-AFF4-5DC5289AE008}" srcOrd="0" destOrd="0" presId="urn:microsoft.com/office/officeart/2008/layout/HexagonCluster"/>
    <dgm:cxn modelId="{1359451D-E35B-438B-AC0F-572C88DA99F0}" type="presParOf" srcId="{53AAB3B3-DCD0-4E69-AFF4-5DC5289AE008}" destId="{D3652DA4-3863-4898-BF1F-573C7BC992FD}" srcOrd="0" destOrd="0" presId="urn:microsoft.com/office/officeart/2008/layout/HexagonCluster"/>
    <dgm:cxn modelId="{09035F9D-7D4F-474F-88F7-30E0BDDA7291}" type="presParOf" srcId="{5859CF7C-702E-4757-B09B-F7F42C28F0AC}" destId="{F17F19D2-F387-48C1-BD9E-C732BDE5FADD}" srcOrd="1" destOrd="0" presId="urn:microsoft.com/office/officeart/2008/layout/HexagonCluster"/>
    <dgm:cxn modelId="{1A8705C4-F177-411E-9AF2-93378AB4CF9F}" type="presParOf" srcId="{F17F19D2-F387-48C1-BD9E-C732BDE5FADD}" destId="{A8F9A003-BA13-4D3B-8494-7690322C15E4}" srcOrd="0" destOrd="0" presId="urn:microsoft.com/office/officeart/2008/layout/HexagonCluster"/>
    <dgm:cxn modelId="{7A658626-03A6-4A69-91D9-46C94425085B}" type="presParOf" srcId="{5859CF7C-702E-4757-B09B-F7F42C28F0AC}" destId="{20D6AB02-DE07-415F-B9A2-679427881F44}" srcOrd="2" destOrd="0" presId="urn:microsoft.com/office/officeart/2008/layout/HexagonCluster"/>
    <dgm:cxn modelId="{73264D92-D203-4153-94CA-42DF446957F5}" type="presParOf" srcId="{20D6AB02-DE07-415F-B9A2-679427881F44}" destId="{10C31060-AEB8-4CAC-8872-75AD33A56FB0}" srcOrd="0" destOrd="0" presId="urn:microsoft.com/office/officeart/2008/layout/HexagonCluster"/>
    <dgm:cxn modelId="{95517FD4-9D29-42E6-86C3-FD27F6CAC351}" type="presParOf" srcId="{5859CF7C-702E-4757-B09B-F7F42C28F0AC}" destId="{33F6A8E4-DE37-4A40-B561-B71987D9BD3A}" srcOrd="3" destOrd="0" presId="urn:microsoft.com/office/officeart/2008/layout/HexagonCluster"/>
    <dgm:cxn modelId="{113995DC-6FC9-422F-AF5A-5CE1BE7C8238}" type="presParOf" srcId="{33F6A8E4-DE37-4A40-B561-B71987D9BD3A}" destId="{9209AA7E-3F5B-4A33-A495-18C6A7C01B36}" srcOrd="0" destOrd="0" presId="urn:microsoft.com/office/officeart/2008/layout/HexagonCluster"/>
    <dgm:cxn modelId="{9CFA30F2-01E4-41C6-BBD6-67D30A1AEE4F}" type="presParOf" srcId="{5859CF7C-702E-4757-B09B-F7F42C28F0AC}" destId="{FD16300E-F2C8-4F52-8670-BDC39FA46C83}" srcOrd="4" destOrd="0" presId="urn:microsoft.com/office/officeart/2008/layout/HexagonCluster"/>
    <dgm:cxn modelId="{29FD6657-86B4-4223-B117-47347068F186}" type="presParOf" srcId="{FD16300E-F2C8-4F52-8670-BDC39FA46C83}" destId="{8D753672-9528-44E4-85CD-6F83D1DDBDEF}" srcOrd="0" destOrd="0" presId="urn:microsoft.com/office/officeart/2008/layout/HexagonCluster"/>
    <dgm:cxn modelId="{F46EDEB8-C372-42D7-8799-C44B14EAC21E}" type="presParOf" srcId="{5859CF7C-702E-4757-B09B-F7F42C28F0AC}" destId="{70D4788D-9109-49F1-B517-B0BF99E0B8AA}" srcOrd="5" destOrd="0" presId="urn:microsoft.com/office/officeart/2008/layout/HexagonCluster"/>
    <dgm:cxn modelId="{3C68C4AB-0BB2-45D8-B40E-2918EEB09033}" type="presParOf" srcId="{70D4788D-9109-49F1-B517-B0BF99E0B8AA}" destId="{913332C9-D757-449E-A19B-DCB2399868F8}" srcOrd="0" destOrd="0" presId="urn:microsoft.com/office/officeart/2008/layout/HexagonCluster"/>
    <dgm:cxn modelId="{EEAD0C6A-1D3F-4E2E-99C2-87D408BB82CC}" type="presParOf" srcId="{5859CF7C-702E-4757-B09B-F7F42C28F0AC}" destId="{BCDC0385-64BA-4E19-B8C8-31F2D3594825}" srcOrd="6" destOrd="0" presId="urn:microsoft.com/office/officeart/2008/layout/HexagonCluster"/>
    <dgm:cxn modelId="{84B5B635-B966-4966-A4D8-4C1024DF83C3}" type="presParOf" srcId="{BCDC0385-64BA-4E19-B8C8-31F2D3594825}" destId="{0F1FC6AD-A203-47E0-82FF-918BD9DCCCDD}" srcOrd="0" destOrd="0" presId="urn:microsoft.com/office/officeart/2008/layout/HexagonCluster"/>
    <dgm:cxn modelId="{CF8D6118-62D9-459F-BE66-436DB026979A}" type="presParOf" srcId="{5859CF7C-702E-4757-B09B-F7F42C28F0AC}" destId="{B2E29442-4286-4BF1-99A5-A195AE1CE8BA}" srcOrd="7" destOrd="0" presId="urn:microsoft.com/office/officeart/2008/layout/HexagonCluster"/>
    <dgm:cxn modelId="{A9AE4A62-BC61-4A0C-B77F-3265621EB459}" type="presParOf" srcId="{B2E29442-4286-4BF1-99A5-A195AE1CE8BA}" destId="{A52D3D66-8EA5-44A5-96EF-9BE1C66BFEA2}" srcOrd="0" destOrd="0" presId="urn:microsoft.com/office/officeart/2008/layout/HexagonCluster"/>
    <dgm:cxn modelId="{FB339D2D-C8D4-4385-AB43-97B7DA0207F0}" type="presParOf" srcId="{5859CF7C-702E-4757-B09B-F7F42C28F0AC}" destId="{7EBEC382-DF4F-4482-A651-6D456D57D35F}" srcOrd="8" destOrd="0" presId="urn:microsoft.com/office/officeart/2008/layout/HexagonCluster"/>
    <dgm:cxn modelId="{905286BC-968A-4A63-B137-39A23D33FFA7}" type="presParOf" srcId="{7EBEC382-DF4F-4482-A651-6D456D57D35F}" destId="{15C3ECE6-5C26-4580-B66B-A9A32C32DAB0}" srcOrd="0" destOrd="0" presId="urn:microsoft.com/office/officeart/2008/layout/HexagonCluster"/>
    <dgm:cxn modelId="{BA6286F4-0BFF-4FC0-9C31-F96984047025}" type="presParOf" srcId="{5859CF7C-702E-4757-B09B-F7F42C28F0AC}" destId="{D5D33E15-B0F3-472C-BFCB-242DEE8B6A5C}" srcOrd="9" destOrd="0" presId="urn:microsoft.com/office/officeart/2008/layout/HexagonCluster"/>
    <dgm:cxn modelId="{9027D15A-DF9C-4475-9B3B-08C170DFDEFD}" type="presParOf" srcId="{D5D33E15-B0F3-472C-BFCB-242DEE8B6A5C}" destId="{530F34FC-9025-4CB5-8312-668515940FA8}" srcOrd="0" destOrd="0" presId="urn:microsoft.com/office/officeart/2008/layout/HexagonCluster"/>
    <dgm:cxn modelId="{194F840F-F230-4C2A-83C6-785C20F00B85}" type="presParOf" srcId="{5859CF7C-702E-4757-B09B-F7F42C28F0AC}" destId="{C5E2B2A4-4029-4BEE-8A25-D9EE145452E8}" srcOrd="10" destOrd="0" presId="urn:microsoft.com/office/officeart/2008/layout/HexagonCluster"/>
    <dgm:cxn modelId="{F5AF8F12-769F-4F07-BF80-419092AE4518}" type="presParOf" srcId="{C5E2B2A4-4029-4BEE-8A25-D9EE145452E8}" destId="{D7D4EBB9-CE95-472A-BE6B-6AEF034729F1}" srcOrd="0" destOrd="0" presId="urn:microsoft.com/office/officeart/2008/layout/HexagonCluster"/>
    <dgm:cxn modelId="{99DD6F87-67BD-44BF-B2AD-512E62457475}" type="presParOf" srcId="{5859CF7C-702E-4757-B09B-F7F42C28F0AC}" destId="{48C22D17-5EEB-4504-9100-4408771EAC8B}" srcOrd="11" destOrd="0" presId="urn:microsoft.com/office/officeart/2008/layout/HexagonCluster"/>
    <dgm:cxn modelId="{2B167000-32DE-4540-9F84-1AE0039CAA30}" type="presParOf" srcId="{48C22D17-5EEB-4504-9100-4408771EAC8B}" destId="{B7DB2206-5D7E-417F-AA75-0D4BBE2251FE}" srcOrd="0" destOrd="0" presId="urn:microsoft.com/office/officeart/2008/layout/HexagonCluster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652DA4-3863-4898-BF1F-573C7BC992FD}">
      <dsp:nvSpPr>
        <dsp:cNvPr id="0" name=""/>
        <dsp:cNvSpPr/>
      </dsp:nvSpPr>
      <dsp:spPr>
        <a:xfrm>
          <a:off x="1952345" y="3341447"/>
          <a:ext cx="2283968" cy="1969178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5400" rIns="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single environment</a:t>
          </a:r>
          <a:endParaRPr lang="nl-BE" sz="2000" kern="1200" dirty="0"/>
        </a:p>
      </dsp:txBody>
      <dsp:txXfrm>
        <a:off x="2306774" y="3647026"/>
        <a:ext cx="1575110" cy="1358020"/>
      </dsp:txXfrm>
    </dsp:sp>
    <dsp:sp modelId="{A8F9A003-BA13-4D3B-8494-7690322C15E4}">
      <dsp:nvSpPr>
        <dsp:cNvPr id="0" name=""/>
        <dsp:cNvSpPr/>
      </dsp:nvSpPr>
      <dsp:spPr>
        <a:xfrm>
          <a:off x="2011680" y="4210799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rgbClr val="FF7E0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C31060-AEB8-4CAC-8872-75AD33A56FB0}">
      <dsp:nvSpPr>
        <dsp:cNvPr id="0" name=""/>
        <dsp:cNvSpPr/>
      </dsp:nvSpPr>
      <dsp:spPr>
        <a:xfrm>
          <a:off x="0" y="2283761"/>
          <a:ext cx="2283968" cy="1969178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8000" b="-8000"/>
          </a:stretch>
        </a:blip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09AA7E-3F5B-4A33-A495-18C6A7C01B36}">
      <dsp:nvSpPr>
        <dsp:cNvPr id="0" name=""/>
        <dsp:cNvSpPr/>
      </dsp:nvSpPr>
      <dsp:spPr>
        <a:xfrm>
          <a:off x="1863000" y="3197681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D753672-9528-44E4-85CD-6F83D1DDBDEF}">
      <dsp:nvSpPr>
        <dsp:cNvPr id="0" name=""/>
        <dsp:cNvSpPr/>
      </dsp:nvSpPr>
      <dsp:spPr>
        <a:xfrm>
          <a:off x="3898188" y="2260350"/>
          <a:ext cx="2283968" cy="1969178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5400" rIns="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ETL/ELT once a day</a:t>
          </a:r>
          <a:endParaRPr lang="nl-BE" sz="2000" kern="1200" dirty="0"/>
        </a:p>
      </dsp:txBody>
      <dsp:txXfrm>
        <a:off x="4252617" y="2565929"/>
        <a:ext cx="1575110" cy="1358020"/>
      </dsp:txXfrm>
    </dsp:sp>
    <dsp:sp modelId="{913332C9-D757-449E-A19B-DCB2399868F8}">
      <dsp:nvSpPr>
        <dsp:cNvPr id="0" name=""/>
        <dsp:cNvSpPr/>
      </dsp:nvSpPr>
      <dsp:spPr>
        <a:xfrm>
          <a:off x="5459577" y="3967318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rgbClr val="FF7E0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F1FC6AD-A203-47E0-82FF-918BD9DCCCDD}">
      <dsp:nvSpPr>
        <dsp:cNvPr id="0" name=""/>
        <dsp:cNvSpPr/>
      </dsp:nvSpPr>
      <dsp:spPr>
        <a:xfrm>
          <a:off x="5844032" y="3341447"/>
          <a:ext cx="2283968" cy="1969178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9000" b="-9000"/>
          </a:stretch>
        </a:blip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2D3D66-8EA5-44A5-96EF-9BE1C66BFEA2}">
      <dsp:nvSpPr>
        <dsp:cNvPr id="0" name=""/>
        <dsp:cNvSpPr/>
      </dsp:nvSpPr>
      <dsp:spPr>
        <a:xfrm>
          <a:off x="6440079" y="3793355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5C3ECE6-5C26-4580-B66B-A9A32C32DAB0}">
      <dsp:nvSpPr>
        <dsp:cNvPr id="0" name=""/>
        <dsp:cNvSpPr/>
      </dsp:nvSpPr>
      <dsp:spPr>
        <a:xfrm>
          <a:off x="1952345" y="1183935"/>
          <a:ext cx="2283968" cy="1969178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5400" rIns="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€100/month</a:t>
          </a:r>
          <a:endParaRPr lang="nl-BE" sz="2000" kern="1200" dirty="0"/>
        </a:p>
      </dsp:txBody>
      <dsp:txXfrm>
        <a:off x="2306774" y="1489514"/>
        <a:ext cx="1575110" cy="1358020"/>
      </dsp:txXfrm>
    </dsp:sp>
    <dsp:sp modelId="{530F34FC-9025-4CB5-8312-668515940FA8}">
      <dsp:nvSpPr>
        <dsp:cNvPr id="0" name=""/>
        <dsp:cNvSpPr/>
      </dsp:nvSpPr>
      <dsp:spPr>
        <a:xfrm>
          <a:off x="3500729" y="1226596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chemeClr val="accent1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7D4EBB9-CE95-472A-BE6B-6AEF034729F1}">
      <dsp:nvSpPr>
        <dsp:cNvPr id="0" name=""/>
        <dsp:cNvSpPr/>
      </dsp:nvSpPr>
      <dsp:spPr>
        <a:xfrm>
          <a:off x="3898188" y="108040"/>
          <a:ext cx="2283968" cy="1969178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 t="-8000" b="-8000"/>
          </a:stretch>
        </a:blip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DB2206-5D7E-417F-AA75-0D4BBE2251FE}">
      <dsp:nvSpPr>
        <dsp:cNvPr id="0" name=""/>
        <dsp:cNvSpPr/>
      </dsp:nvSpPr>
      <dsp:spPr>
        <a:xfrm>
          <a:off x="4353277" y="127885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ABA571-E4C4-46FA-BCB4-F91B90E09927}" type="datetimeFigureOut">
              <a:rPr lang="nl-BE" smtClean="0"/>
              <a:t>20/09/2025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F6258-B281-49EC-9D26-DA5F2F7B4208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12337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F6258-B281-49EC-9D26-DA5F2F7B4208}" type="slidenum">
              <a:rPr kumimoji="0" lang="nl-B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l-B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84517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1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765303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1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396637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1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761773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973041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n’t forget to add alerting/monitoring + refresh Power BI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4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463409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4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971323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4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3728615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5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55736404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6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378124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veryone thinks they need this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3768740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some companies only need this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997823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rry for the clickbait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5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008035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ata is stored in SQL DB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loud sources &amp; public Intern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ower BI license cost not included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280319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rry for the clickbait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7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4492350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rry for the clickbait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8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7274103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rry for the clickbait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9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6561098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1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67311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9882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975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681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783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1536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672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183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35003097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55597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866556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Tijdelijke aanduiding voor voettekst 33">
            <a:extLst>
              <a:ext uri="{FF2B5EF4-FFF2-40B4-BE49-F238E27FC236}">
                <a16:creationId xmlns:a16="http://schemas.microsoft.com/office/drawing/2014/main" id="{5DDF9C03-4951-4166-A8F6-3E70A70AF3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7318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1360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24631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44932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59218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23264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702665-F588-4708-9642-2BE1BD30B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83785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8762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8330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AEF46BFE-CDE3-4642-BA02-79206528889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4761450"/>
      </p:ext>
    </p:extLst>
  </p:cSld>
  <p:clrMapOvr>
    <a:masterClrMapping/>
  </p:clrMapOvr>
  <p:transition spd="slow">
    <p:cover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D23F9B26-12F3-4A17-9E26-E105CEB657D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77589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 dirty="0"/>
              <a:t>Template made by </a:t>
            </a:r>
            <a:r>
              <a:rPr lang="en-GB" dirty="0" err="1"/>
              <a:t>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92375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6776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3010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9959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1834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2085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737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6779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3650A98E-55EC-485D-B218-F494F76EC3C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5928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78145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97481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04636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1414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rgbClr val="191919"/>
                </a:solidFill>
              </a:defRPr>
            </a:lvl4pPr>
            <a:lvl5pPr>
              <a:defRPr>
                <a:solidFill>
                  <a:srgbClr val="19191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85B63D6-D71F-A240-AA5E-4A141103753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6757" y="500826"/>
            <a:ext cx="9418359" cy="956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430940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reaker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4543" y="439583"/>
            <a:ext cx="9753600" cy="4965699"/>
          </a:xfrm>
        </p:spPr>
        <p:txBody>
          <a:bodyPr anchor="t"/>
          <a:lstStyle>
            <a:lvl1pPr algn="l">
              <a:lnSpc>
                <a:spcPct val="120000"/>
              </a:lnSpc>
              <a:defRPr sz="6000" b="1" i="0">
                <a:solidFill>
                  <a:schemeClr val="bg1"/>
                </a:solidFill>
                <a:latin typeface="IBM Plex Sans" panose="020B0503050203000203" pitchFamily="34" charset="77"/>
              </a:defRPr>
            </a:lvl1pPr>
          </a:lstStyle>
          <a:p>
            <a:r>
              <a:rPr lang="en-US" dirty="0"/>
              <a:t>This is a breaker page, it can be used to split topics or highlight something</a:t>
            </a:r>
          </a:p>
        </p:txBody>
      </p:sp>
    </p:spTree>
    <p:extLst>
      <p:ext uri="{BB962C8B-B14F-4D97-AF65-F5344CB8AC3E}">
        <p14:creationId xmlns:p14="http://schemas.microsoft.com/office/powerpoint/2010/main" val="34859309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C877A6-09FA-8541-9281-95DD7E40CF1F}" type="datetimeFigureOut">
              <a:rPr lang="en-BE" smtClean="0"/>
              <a:t>20/09/2025</a:t>
            </a:fld>
            <a:endParaRPr lang="en-B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CA141A-F586-5441-B4FE-33AE669607DB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54687627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782480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872514"/>
      </p:ext>
    </p:extLst>
  </p:cSld>
  <p:clrMapOvr>
    <a:masterClrMapping/>
  </p:clrMapOvr>
  <p:hf hd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255104"/>
      </p:ext>
    </p:extLst>
  </p:cSld>
  <p:clrMapOvr>
    <a:masterClrMapping/>
  </p:clrMapOvr>
  <p:hf hd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92742"/>
      </p:ext>
    </p:extLst>
  </p:cSld>
  <p:clrMapOvr>
    <a:masterClrMapping/>
  </p:clrMapOvr>
  <p:hf hd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0275306"/>
      </p:ext>
    </p:extLst>
  </p:cSld>
  <p:clrMapOvr>
    <a:masterClrMapping/>
  </p:clrMapOvr>
  <p:hf hd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609024203"/>
      </p:ext>
    </p:extLst>
  </p:cSld>
  <p:clrMapOvr>
    <a:masterClrMapping/>
  </p:clrMapOvr>
  <p:hf hd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1391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03006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32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666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9956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9746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3974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6659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1897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4320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167476969"/>
      </p:ext>
    </p:extLst>
  </p:cSld>
  <p:clrMapOvr>
    <a:masterClrMapping/>
  </p:clrMapOvr>
  <p:hf hdr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9565809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405788415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429749358"/>
      </p:ext>
    </p:extLst>
  </p:cSld>
  <p:clrMapOvr>
    <a:masterClrMapping/>
  </p:clrMapOvr>
  <p:hf hd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59779"/>
      </p:ext>
    </p:extLst>
  </p:cSld>
  <p:clrMapOvr>
    <a:masterClrMapping/>
  </p:clrMapOvr>
  <p:hf hdr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296338"/>
      </p:ext>
    </p:extLst>
  </p:cSld>
  <p:clrMapOvr>
    <a:masterClrMapping/>
  </p:clrMapOvr>
  <p:hf hdr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4028530"/>
      </p:ext>
    </p:extLst>
  </p:cSld>
  <p:clrMapOvr>
    <a:masterClrMapping/>
  </p:clrMapOvr>
  <p:hf hdr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7169249"/>
      </p:ext>
    </p:extLst>
  </p:cSld>
  <p:clrMapOvr>
    <a:masterClrMapping/>
  </p:clrMapOvr>
  <p:hf hdr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9802114"/>
      </p:ext>
    </p:extLst>
  </p:cSld>
  <p:clrMapOvr>
    <a:masterClrMapping/>
  </p:clrMapOvr>
  <p:hf hdr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030671"/>
      </p:ext>
    </p:extLst>
  </p:cSld>
  <p:clrMapOvr>
    <a:masterClrMapping/>
  </p:clrMapOvr>
  <p:hf hdr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6000542"/>
      </p:ext>
    </p:extLst>
  </p:cSld>
  <p:clrMapOvr>
    <a:masterClrMapping/>
  </p:clrMapOvr>
  <p:hf hdr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8683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6147783"/>
      </p:ext>
    </p:extLst>
  </p:cSld>
  <p:clrMapOvr>
    <a:masterClrMapping/>
  </p:clrMapOvr>
  <p:transition spd="slow">
    <p:cover/>
  </p:transition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92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454188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2405453"/>
      </p:ext>
    </p:extLst>
  </p:cSld>
  <p:clrMapOvr>
    <a:masterClrMapping/>
  </p:clrMapOvr>
  <p:hf hdr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46764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8223798"/>
      </p:ext>
    </p:extLst>
  </p:cSld>
  <p:clrMapOvr>
    <a:masterClrMapping/>
  </p:clrMapOvr>
  <p:hf hdr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9557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04076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188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8020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9026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950814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996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6844"/>
      </p:ext>
    </p:extLst>
  </p:cSld>
  <p:clrMapOvr>
    <a:masterClrMapping/>
  </p:clrMapOvr>
  <p:hf hdr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866699068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226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2.png"/><Relationship Id="rId50" Type="http://schemas.openxmlformats.org/officeDocument/2006/relationships/image" Target="../media/image5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48" Type="http://schemas.openxmlformats.org/officeDocument/2006/relationships/image" Target="../media/image3.sv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9" Type="http://schemas.openxmlformats.org/officeDocument/2006/relationships/slideLayout" Target="../slideLayouts/slideLayout81.xml"/><Relationship Id="rId21" Type="http://schemas.openxmlformats.org/officeDocument/2006/relationships/slideLayout" Target="../slideLayouts/slideLayout63.xml"/><Relationship Id="rId34" Type="http://schemas.openxmlformats.org/officeDocument/2006/relationships/slideLayout" Target="../slideLayouts/slideLayout76.xml"/><Relationship Id="rId42" Type="http://schemas.openxmlformats.org/officeDocument/2006/relationships/oleObject" Target="../embeddings/oleObject1.bin"/><Relationship Id="rId47" Type="http://schemas.openxmlformats.org/officeDocument/2006/relationships/image" Target="../media/image5.svg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71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slideLayout" Target="../slideLayouts/slideLayout74.xml"/><Relationship Id="rId37" Type="http://schemas.openxmlformats.org/officeDocument/2006/relationships/slideLayout" Target="../slideLayouts/slideLayout79.xml"/><Relationship Id="rId40" Type="http://schemas.openxmlformats.org/officeDocument/2006/relationships/theme" Target="../theme/theme2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36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slideLayout" Target="../slideLayouts/slideLayout73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slideLayout" Target="../slideLayouts/slideLayout72.xml"/><Relationship Id="rId35" Type="http://schemas.openxmlformats.org/officeDocument/2006/relationships/slideLayout" Target="../slideLayouts/slideLayout77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33" Type="http://schemas.openxmlformats.org/officeDocument/2006/relationships/slideLayout" Target="../slideLayouts/slideLayout75.xml"/><Relationship Id="rId38" Type="http://schemas.openxmlformats.org/officeDocument/2006/relationships/slideLayout" Target="../slideLayouts/slideLayout80.xml"/><Relationship Id="rId46" Type="http://schemas.openxmlformats.org/officeDocument/2006/relationships/image" Target="../media/image4.png"/><Relationship Id="rId20" Type="http://schemas.openxmlformats.org/officeDocument/2006/relationships/slideLayout" Target="../slideLayouts/slideLayout62.xml"/><Relationship Id="rId41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532" imgH="530" progId="TCLayout.ActiveDocument.1">
                  <p:embed/>
                </p:oleObj>
              </mc:Choice>
              <mc:Fallback>
                <p:oleObj name="think-cell Slide" r:id="rId45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216624FE-7E7B-417B-954A-44EECD18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24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  <p:sldLayoutId id="2147483708" r:id="rId25"/>
    <p:sldLayoutId id="2147483709" r:id="rId26"/>
    <p:sldLayoutId id="2147483710" r:id="rId27"/>
    <p:sldLayoutId id="2147483711" r:id="rId28"/>
    <p:sldLayoutId id="2147483712" r:id="rId29"/>
    <p:sldLayoutId id="2147483713" r:id="rId30"/>
    <p:sldLayoutId id="2147483714" r:id="rId31"/>
    <p:sldLayoutId id="2147483715" r:id="rId32"/>
    <p:sldLayoutId id="2147483716" r:id="rId33"/>
    <p:sldLayoutId id="2147483717" r:id="rId34"/>
    <p:sldLayoutId id="2147483718" r:id="rId35"/>
    <p:sldLayoutId id="2147483719" r:id="rId36"/>
    <p:sldLayoutId id="2147483720" r:id="rId37"/>
    <p:sldLayoutId id="2147483721" r:id="rId38"/>
    <p:sldLayoutId id="2147483722" r:id="rId39"/>
    <p:sldLayoutId id="2147483725" r:id="rId40"/>
    <p:sldLayoutId id="2147483726" r:id="rId41"/>
    <p:sldLayoutId id="2147483767" r:id="rId4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44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Tx/>
        <a:buBlip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532" imgH="530" progId="TCLayout.ActiveDocument.1">
                  <p:embed/>
                </p:oleObj>
              </mc:Choice>
              <mc:Fallback>
                <p:oleObj name="think-cell Slide" r:id="rId42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385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49" r:id="rId22"/>
    <p:sldLayoutId id="2147483750" r:id="rId23"/>
    <p:sldLayoutId id="2147483751" r:id="rId24"/>
    <p:sldLayoutId id="2147483752" r:id="rId25"/>
    <p:sldLayoutId id="2147483753" r:id="rId26"/>
    <p:sldLayoutId id="2147483754" r:id="rId27"/>
    <p:sldLayoutId id="2147483755" r:id="rId28"/>
    <p:sldLayoutId id="2147483756" r:id="rId29"/>
    <p:sldLayoutId id="2147483757" r:id="rId30"/>
    <p:sldLayoutId id="2147483758" r:id="rId31"/>
    <p:sldLayoutId id="2147483759" r:id="rId32"/>
    <p:sldLayoutId id="2147483760" r:id="rId33"/>
    <p:sldLayoutId id="2147483761" r:id="rId34"/>
    <p:sldLayoutId id="2147483762" r:id="rId35"/>
    <p:sldLayoutId id="2147483763" r:id="rId36"/>
    <p:sldLayoutId id="2147483764" r:id="rId37"/>
    <p:sldLayoutId id="2147483765" r:id="rId38"/>
    <p:sldLayoutId id="2147483766" r:id="rId3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5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png"/><Relationship Id="rId3" Type="http://schemas.openxmlformats.org/officeDocument/2006/relationships/image" Target="../media/image44.png"/><Relationship Id="rId7" Type="http://schemas.openxmlformats.org/officeDocument/2006/relationships/image" Target="../media/image48.jpeg"/><Relationship Id="rId12" Type="http://schemas.openxmlformats.org/officeDocument/2006/relationships/image" Target="../media/image5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47.svg"/><Relationship Id="rId11" Type="http://schemas.openxmlformats.org/officeDocument/2006/relationships/image" Target="../media/image52.svg"/><Relationship Id="rId5" Type="http://schemas.openxmlformats.org/officeDocument/2006/relationships/image" Target="../media/image46.png"/><Relationship Id="rId10" Type="http://schemas.openxmlformats.org/officeDocument/2006/relationships/image" Target="../media/image51.png"/><Relationship Id="rId4" Type="http://schemas.openxmlformats.org/officeDocument/2006/relationships/image" Target="../media/image45.svg"/><Relationship Id="rId9" Type="http://schemas.openxmlformats.org/officeDocument/2006/relationships/image" Target="../media/image50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eg"/><Relationship Id="rId13" Type="http://schemas.openxmlformats.org/officeDocument/2006/relationships/image" Target="../media/image55.png"/><Relationship Id="rId18" Type="http://schemas.openxmlformats.org/officeDocument/2006/relationships/image" Target="../media/image60.jpeg"/><Relationship Id="rId3" Type="http://schemas.openxmlformats.org/officeDocument/2006/relationships/image" Target="../media/image44.png"/><Relationship Id="rId21" Type="http://schemas.openxmlformats.org/officeDocument/2006/relationships/image" Target="../media/image63.png"/><Relationship Id="rId7" Type="http://schemas.openxmlformats.org/officeDocument/2006/relationships/image" Target="../media/image48.jpe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5" Type="http://schemas.openxmlformats.org/officeDocument/2006/relationships/image" Target="../media/image67.sv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58.png"/><Relationship Id="rId20" Type="http://schemas.openxmlformats.org/officeDocument/2006/relationships/image" Target="../media/image62.sv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47.svg"/><Relationship Id="rId11" Type="http://schemas.openxmlformats.org/officeDocument/2006/relationships/image" Target="../media/image53.png"/><Relationship Id="rId24" Type="http://schemas.openxmlformats.org/officeDocument/2006/relationships/image" Target="../media/image66.png"/><Relationship Id="rId5" Type="http://schemas.openxmlformats.org/officeDocument/2006/relationships/image" Target="../media/image46.png"/><Relationship Id="rId15" Type="http://schemas.openxmlformats.org/officeDocument/2006/relationships/image" Target="../media/image57.png"/><Relationship Id="rId23" Type="http://schemas.openxmlformats.org/officeDocument/2006/relationships/image" Target="../media/image65.png"/><Relationship Id="rId10" Type="http://schemas.openxmlformats.org/officeDocument/2006/relationships/image" Target="../media/image52.svg"/><Relationship Id="rId19" Type="http://schemas.openxmlformats.org/officeDocument/2006/relationships/image" Target="../media/image61.png"/><Relationship Id="rId4" Type="http://schemas.openxmlformats.org/officeDocument/2006/relationships/image" Target="../media/image45.svg"/><Relationship Id="rId9" Type="http://schemas.openxmlformats.org/officeDocument/2006/relationships/image" Target="../media/image51.png"/><Relationship Id="rId14" Type="http://schemas.openxmlformats.org/officeDocument/2006/relationships/image" Target="../media/image56.svg"/><Relationship Id="rId22" Type="http://schemas.openxmlformats.org/officeDocument/2006/relationships/image" Target="../media/image64.sv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29.svg"/><Relationship Id="rId11" Type="http://schemas.openxmlformats.org/officeDocument/2006/relationships/image" Target="../media/image34.jp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be.com/watch?v=Fct1dcZMyWs" TargetMode="External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sqlkover.com/reading-afas-rest-api-data-with-azure-logic-apps/" TargetMode="External"/><Relationship Id="rId7" Type="http://schemas.openxmlformats.org/officeDocument/2006/relationships/hyperlink" Target="https://sqlkover.com/dynamically-map-json-to-sql-in-azure-data-factory/" TargetMode="External"/><Relationship Id="rId2" Type="http://schemas.openxmlformats.org/officeDocument/2006/relationships/hyperlink" Target="https://sqlkover.com/azure-data-factory-and-the-exact-online-rest-api-introduction/" TargetMode="External"/><Relationship Id="rId1" Type="http://schemas.openxmlformats.org/officeDocument/2006/relationships/slideLayout" Target="../slideLayouts/slideLayout40.xml"/><Relationship Id="rId6" Type="http://schemas.openxmlformats.org/officeDocument/2006/relationships/hyperlink" Target="https://www.mssqltips.com/sqlservertutorial/9399/building-flexible-and-dynamic-adf-pipelines/" TargetMode="External"/><Relationship Id="rId5" Type="http://schemas.openxmlformats.org/officeDocument/2006/relationships/hyperlink" Target="https://sqlkover.com/dynamic-datasets-in-azure-data-factory/" TargetMode="External"/><Relationship Id="rId4" Type="http://schemas.openxmlformats.org/officeDocument/2006/relationships/hyperlink" Target="https://sqlkover.com/build-once-add-metadata/" TargetMode="Externa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sv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9.xml"/><Relationship Id="rId6" Type="http://schemas.microsoft.com/office/2007/relationships/hdphoto" Target="../media/hdphoto1.wdp"/><Relationship Id="rId5" Type="http://schemas.openxmlformats.org/officeDocument/2006/relationships/image" Target="../media/image83.png"/><Relationship Id="rId4" Type="http://schemas.openxmlformats.org/officeDocument/2006/relationships/image" Target="../media/image30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1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sv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6.sv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9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19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9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89.png"/><Relationship Id="rId4" Type="http://schemas.openxmlformats.org/officeDocument/2006/relationships/image" Target="../media/image92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9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moderndata.ai/2018/12/scale-azure-sql-using-adf-web-activity/" TargetMode="External"/><Relationship Id="rId1" Type="http://schemas.openxmlformats.org/officeDocument/2006/relationships/slideLayout" Target="../slideLayouts/slideLayout19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9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9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hyperlink" Target="https://pl.seequality.net/refreshing-a-power-bi-dataset-using-azure-data-factory/" TargetMode="External"/><Relationship Id="rId1" Type="http://schemas.openxmlformats.org/officeDocument/2006/relationships/slideLayout" Target="../slideLayouts/slideLayout19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13" Type="http://schemas.openxmlformats.org/officeDocument/2006/relationships/image" Target="../media/image44.png"/><Relationship Id="rId18" Type="http://schemas.openxmlformats.org/officeDocument/2006/relationships/image" Target="../media/image107.svg"/><Relationship Id="rId26" Type="http://schemas.openxmlformats.org/officeDocument/2006/relationships/image" Target="../media/image111.svg"/><Relationship Id="rId3" Type="http://schemas.openxmlformats.org/officeDocument/2006/relationships/image" Target="../media/image98.png"/><Relationship Id="rId21" Type="http://schemas.openxmlformats.org/officeDocument/2006/relationships/image" Target="../media/image51.png"/><Relationship Id="rId7" Type="http://schemas.openxmlformats.org/officeDocument/2006/relationships/image" Target="../media/image49.png"/><Relationship Id="rId12" Type="http://schemas.openxmlformats.org/officeDocument/2006/relationships/image" Target="../media/image105.png"/><Relationship Id="rId17" Type="http://schemas.openxmlformats.org/officeDocument/2006/relationships/image" Target="../media/image106.png"/><Relationship Id="rId25" Type="http://schemas.openxmlformats.org/officeDocument/2006/relationships/image" Target="../media/image110.png"/><Relationship Id="rId2" Type="http://schemas.openxmlformats.org/officeDocument/2006/relationships/image" Target="../media/image97.png"/><Relationship Id="rId16" Type="http://schemas.openxmlformats.org/officeDocument/2006/relationships/image" Target="../media/image47.svg"/><Relationship Id="rId20" Type="http://schemas.openxmlformats.org/officeDocument/2006/relationships/image" Target="../media/image50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00.png"/><Relationship Id="rId11" Type="http://schemas.openxmlformats.org/officeDocument/2006/relationships/image" Target="../media/image104.svg"/><Relationship Id="rId24" Type="http://schemas.openxmlformats.org/officeDocument/2006/relationships/image" Target="../media/image109.svg"/><Relationship Id="rId5" Type="http://schemas.openxmlformats.org/officeDocument/2006/relationships/image" Target="../media/image53.png"/><Relationship Id="rId15" Type="http://schemas.openxmlformats.org/officeDocument/2006/relationships/image" Target="../media/image46.png"/><Relationship Id="rId23" Type="http://schemas.openxmlformats.org/officeDocument/2006/relationships/image" Target="../media/image108.png"/><Relationship Id="rId10" Type="http://schemas.openxmlformats.org/officeDocument/2006/relationships/image" Target="../media/image103.png"/><Relationship Id="rId19" Type="http://schemas.openxmlformats.org/officeDocument/2006/relationships/image" Target="../media/image48.jpeg"/><Relationship Id="rId4" Type="http://schemas.openxmlformats.org/officeDocument/2006/relationships/image" Target="../media/image99.png"/><Relationship Id="rId9" Type="http://schemas.openxmlformats.org/officeDocument/2006/relationships/image" Target="../media/image102.png"/><Relationship Id="rId14" Type="http://schemas.openxmlformats.org/officeDocument/2006/relationships/image" Target="../media/image45.svg"/><Relationship Id="rId22" Type="http://schemas.openxmlformats.org/officeDocument/2006/relationships/image" Target="../media/image52.svg"/><Relationship Id="rId27" Type="http://schemas.openxmlformats.org/officeDocument/2006/relationships/image" Target="../media/image54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0fvLLYW5yW4" TargetMode="External"/><Relationship Id="rId1" Type="http://schemas.openxmlformats.org/officeDocument/2006/relationships/slideLayout" Target="../slideLayouts/slideLayout19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1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D31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FD5E2D6-13DA-FBF1-8D38-939880599B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1029" y="0"/>
            <a:ext cx="8055038" cy="295681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74A8FE3-8755-23FF-D9C7-8455E831F2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4734" y="2956816"/>
            <a:ext cx="5051494" cy="390118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9694673-69AD-BD9E-68F9-0A31E33D99EC}"/>
              </a:ext>
            </a:extLst>
          </p:cNvPr>
          <p:cNvSpPr txBox="1">
            <a:spLocks/>
          </p:cNvSpPr>
          <p:nvPr/>
        </p:nvSpPr>
        <p:spPr>
          <a:xfrm>
            <a:off x="445687" y="2976743"/>
            <a:ext cx="8055038" cy="1903106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4400" b="0" kern="1200" dirty="0" smtClean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dirty="0">
                <a:solidFill>
                  <a:srgbClr val="EAD1B5"/>
                </a:solidFill>
                <a:latin typeface="Borcer" pitchFamily="2" charset="0"/>
              </a:rPr>
              <a:t>Building the €100 data </a:t>
            </a:r>
            <a:r>
              <a:rPr lang="fr-FR" dirty="0" err="1">
                <a:solidFill>
                  <a:srgbClr val="EAD1B5"/>
                </a:solidFill>
                <a:latin typeface="Borcer" pitchFamily="2" charset="0"/>
              </a:rPr>
              <a:t>warehouse</a:t>
            </a:r>
            <a:r>
              <a:rPr lang="fr-FR" dirty="0">
                <a:solidFill>
                  <a:srgbClr val="EAD1B5"/>
                </a:solidFill>
                <a:latin typeface="Borcer" pitchFamily="2" charset="0"/>
              </a:rPr>
              <a:t> </a:t>
            </a:r>
            <a:r>
              <a:rPr lang="fr-FR" dirty="0" err="1">
                <a:solidFill>
                  <a:srgbClr val="EAD1B5"/>
                </a:solidFill>
                <a:latin typeface="Borcer" pitchFamily="2" charset="0"/>
              </a:rPr>
              <a:t>with</a:t>
            </a:r>
            <a:r>
              <a:rPr lang="fr-FR" dirty="0">
                <a:solidFill>
                  <a:srgbClr val="EAD1B5"/>
                </a:solidFill>
                <a:latin typeface="Borcer" pitchFamily="2" charset="0"/>
              </a:rPr>
              <a:t> the Azure Data Platform</a:t>
            </a:r>
          </a:p>
          <a:p>
            <a:pPr fontAlgn="auto">
              <a:spcAft>
                <a:spcPts val="0"/>
              </a:spcAft>
            </a:pPr>
            <a:r>
              <a:rPr lang="fr-FR" sz="2500" dirty="0">
                <a:solidFill>
                  <a:srgbClr val="EAD1B5"/>
                </a:solidFill>
                <a:latin typeface="Borcer" pitchFamily="2" charset="0"/>
              </a:rPr>
              <a:t>(</a:t>
            </a:r>
            <a:r>
              <a:rPr lang="fr-FR" sz="2500" dirty="0" err="1">
                <a:solidFill>
                  <a:srgbClr val="EAD1B5"/>
                </a:solidFill>
                <a:latin typeface="Borcer" pitchFamily="2" charset="0"/>
              </a:rPr>
              <a:t>okay</a:t>
            </a:r>
            <a:r>
              <a:rPr lang="fr-FR" sz="2500" dirty="0">
                <a:solidFill>
                  <a:srgbClr val="EAD1B5"/>
                </a:solidFill>
                <a:latin typeface="Borcer" pitchFamily="2" charset="0"/>
              </a:rPr>
              <a:t> and </a:t>
            </a:r>
            <a:r>
              <a:rPr lang="fr-FR" sz="2500" dirty="0" err="1">
                <a:solidFill>
                  <a:srgbClr val="EAD1B5"/>
                </a:solidFill>
                <a:latin typeface="Borcer" pitchFamily="2" charset="0"/>
              </a:rPr>
              <a:t>maybe</a:t>
            </a:r>
            <a:r>
              <a:rPr lang="fr-FR" sz="2500" dirty="0">
                <a:solidFill>
                  <a:srgbClr val="EAD1B5"/>
                </a:solidFill>
                <a:latin typeface="Borcer" pitchFamily="2" charset="0"/>
              </a:rPr>
              <a:t> a </a:t>
            </a:r>
            <a:r>
              <a:rPr lang="fr-FR" sz="2500" dirty="0" err="1">
                <a:solidFill>
                  <a:srgbClr val="EAD1B5"/>
                </a:solidFill>
                <a:latin typeface="Borcer" pitchFamily="2" charset="0"/>
              </a:rPr>
              <a:t>little</a:t>
            </a:r>
            <a:r>
              <a:rPr lang="fr-FR" sz="2500" dirty="0">
                <a:solidFill>
                  <a:srgbClr val="EAD1B5"/>
                </a:solidFill>
                <a:latin typeface="Borcer" pitchFamily="2" charset="0"/>
              </a:rPr>
              <a:t> bit of </a:t>
            </a:r>
            <a:r>
              <a:rPr lang="fr-FR" sz="2500" dirty="0" err="1">
                <a:solidFill>
                  <a:srgbClr val="EAD1B5"/>
                </a:solidFill>
                <a:latin typeface="Borcer" pitchFamily="2" charset="0"/>
              </a:rPr>
              <a:t>Fabric</a:t>
            </a:r>
            <a:r>
              <a:rPr lang="fr-FR" sz="2500" dirty="0">
                <a:solidFill>
                  <a:srgbClr val="EAD1B5"/>
                </a:solidFill>
                <a:latin typeface="Borcer" pitchFamily="2" charset="0"/>
              </a:rPr>
              <a:t>)</a:t>
            </a:r>
            <a:endParaRPr lang="nl-BE" sz="2500" dirty="0">
              <a:solidFill>
                <a:srgbClr val="EAD1B5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63C0D3-0C68-A0F2-9D5B-083B60EBC862}"/>
              </a:ext>
            </a:extLst>
          </p:cNvPr>
          <p:cNvSpPr txBox="1"/>
          <p:nvPr/>
        </p:nvSpPr>
        <p:spPr>
          <a:xfrm>
            <a:off x="8965017" y="6363387"/>
            <a:ext cx="32269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0" dirty="0">
                <a:solidFill>
                  <a:srgbClr val="EAD1B5"/>
                </a:solidFill>
                <a:latin typeface="Borcer"/>
              </a:rPr>
              <a:t>Koen Verbeeck - He / him</a:t>
            </a:r>
            <a:endParaRPr lang="nl-BE" sz="2000" b="0" dirty="0">
              <a:solidFill>
                <a:srgbClr val="EAD1B5"/>
              </a:solidFill>
              <a:latin typeface="Borcer"/>
            </a:endParaRPr>
          </a:p>
        </p:txBody>
      </p:sp>
    </p:spTree>
    <p:extLst>
      <p:ext uri="{BB962C8B-B14F-4D97-AF65-F5344CB8AC3E}">
        <p14:creationId xmlns:p14="http://schemas.microsoft.com/office/powerpoint/2010/main" val="24824651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FC78BB-302B-2311-4CC2-EE9B41AE56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rchitecture</a:t>
            </a:r>
            <a:endParaRPr lang="nl-B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CD92B4-432B-7D16-1556-4B3983528F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endParaRPr lang="nl-B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C0B4EB7-1E13-EFD4-33AD-B7199C590F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ngest</a:t>
            </a:r>
            <a:endParaRPr lang="nl-B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C668EA0-CFEE-D772-48D7-567B42F6DC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endParaRPr lang="nl-B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BEA78D3-0C38-7670-7532-1F70203854A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ransform</a:t>
            </a:r>
            <a:endParaRPr lang="nl-BE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F1FA346-EE51-6E32-9B80-E65724AD2DE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20000"/>
          </a:bodyPr>
          <a:lstStyle/>
          <a:p>
            <a:endParaRPr lang="nl-BE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6F77D4D-9E45-4AA3-4936-B0B0E912E0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model &amp; serve</a:t>
            </a:r>
            <a:endParaRPr lang="nl-B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D6A0321-05FC-9366-A087-8FE2EEC718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fontScale="92500" lnSpcReduction="20000"/>
          </a:bodyPr>
          <a:lstStyle/>
          <a:p>
            <a:endParaRPr lang="nl-B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8363D9E-6A92-82B9-4329-0487D44F370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but what about Fabric?</a:t>
            </a:r>
            <a:endParaRPr lang="nl-BE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2AFEB33-8999-AC8C-9F86-3F4AE3AD5E5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fontScale="92500" lnSpcReduction="20000"/>
          </a:bodyPr>
          <a:lstStyle/>
          <a:p>
            <a:endParaRPr lang="nl-B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49CCCE-37C1-FB34-F3F7-4057A999442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8416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A564521-D1CF-0E55-896D-6CFD4A0233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rchitecture</a:t>
            </a:r>
            <a:endParaRPr lang="nl-BE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C253A81-FD6A-4242-9334-1E62453B9CF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95568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EE494F8-00AE-F127-FF0A-08194CCD6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ical architecture</a:t>
            </a:r>
            <a:endParaRPr lang="nl-BE" dirty="0"/>
          </a:p>
        </p:txBody>
      </p:sp>
      <p:grpSp>
        <p:nvGrpSpPr>
          <p:cNvPr id="4" name="Groep 5">
            <a:extLst>
              <a:ext uri="{FF2B5EF4-FFF2-40B4-BE49-F238E27FC236}">
                <a16:creationId xmlns:a16="http://schemas.microsoft.com/office/drawing/2014/main" id="{3664F832-967D-29E6-D191-9553CCDA13FE}"/>
              </a:ext>
            </a:extLst>
          </p:cNvPr>
          <p:cNvGrpSpPr/>
          <p:nvPr/>
        </p:nvGrpSpPr>
        <p:grpSpPr>
          <a:xfrm>
            <a:off x="277355" y="1823343"/>
            <a:ext cx="11555650" cy="4658197"/>
            <a:chOff x="1893204" y="1698853"/>
            <a:chExt cx="8777518" cy="4658197"/>
          </a:xfrm>
        </p:grpSpPr>
        <p:sp>
          <p:nvSpPr>
            <p:cNvPr id="5" name="Rechthoek: afgeronde hoeken 12">
              <a:extLst>
                <a:ext uri="{FF2B5EF4-FFF2-40B4-BE49-F238E27FC236}">
                  <a16:creationId xmlns:a16="http://schemas.microsoft.com/office/drawing/2014/main" id="{F7BB3856-62D3-5962-E359-4ABBD215CA21}"/>
                </a:ext>
              </a:extLst>
            </p:cNvPr>
            <p:cNvSpPr/>
            <p:nvPr/>
          </p:nvSpPr>
          <p:spPr>
            <a:xfrm>
              <a:off x="4109106" y="1873525"/>
              <a:ext cx="4389120" cy="220276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2400" dirty="0">
                  <a:solidFill>
                    <a:schemeClr val="accent1">
                      <a:lumMod val="75000"/>
                    </a:schemeClr>
                  </a:solidFill>
                </a:rPr>
                <a:t>Data platform</a:t>
              </a:r>
              <a:endParaRPr lang="en-BE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6" name="Rechthoek: afgeronde hoeken 8">
              <a:extLst>
                <a:ext uri="{FF2B5EF4-FFF2-40B4-BE49-F238E27FC236}">
                  <a16:creationId xmlns:a16="http://schemas.microsoft.com/office/drawing/2014/main" id="{4E00AF17-9876-82AB-1918-075C7F65F512}"/>
                </a:ext>
              </a:extLst>
            </p:cNvPr>
            <p:cNvSpPr/>
            <p:nvPr/>
          </p:nvSpPr>
          <p:spPr>
            <a:xfrm>
              <a:off x="4466957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Inges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7" name="Rechthoek: afgeronde hoeken 9">
              <a:extLst>
                <a:ext uri="{FF2B5EF4-FFF2-40B4-BE49-F238E27FC236}">
                  <a16:creationId xmlns:a16="http://schemas.microsoft.com/office/drawing/2014/main" id="{F7CA6D37-5A0E-6C1B-C947-7B1530D66106}"/>
                </a:ext>
              </a:extLst>
            </p:cNvPr>
            <p:cNvSpPr/>
            <p:nvPr/>
          </p:nvSpPr>
          <p:spPr>
            <a:xfrm>
              <a:off x="5701238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Transformation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8" name="Rechthoek: afgeronde hoeken 10">
              <a:extLst>
                <a:ext uri="{FF2B5EF4-FFF2-40B4-BE49-F238E27FC236}">
                  <a16:creationId xmlns:a16="http://schemas.microsoft.com/office/drawing/2014/main" id="{E5FD2761-A417-0059-78E3-0C3AD7E970DB}"/>
                </a:ext>
              </a:extLst>
            </p:cNvPr>
            <p:cNvSpPr/>
            <p:nvPr/>
          </p:nvSpPr>
          <p:spPr>
            <a:xfrm>
              <a:off x="6946277" y="2376586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Serv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9" name="Rechthoek: afgeronde hoeken 11">
              <a:extLst>
                <a:ext uri="{FF2B5EF4-FFF2-40B4-BE49-F238E27FC236}">
                  <a16:creationId xmlns:a16="http://schemas.microsoft.com/office/drawing/2014/main" id="{EADF5B38-9D46-45F7-8020-08BD70667E4D}"/>
                </a:ext>
              </a:extLst>
            </p:cNvPr>
            <p:cNvSpPr/>
            <p:nvPr/>
          </p:nvSpPr>
          <p:spPr>
            <a:xfrm>
              <a:off x="4466957" y="3301747"/>
              <a:ext cx="3684176" cy="45182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dirty="0">
                  <a:solidFill>
                    <a:schemeClr val="accent1">
                      <a:lumMod val="75000"/>
                    </a:schemeClr>
                  </a:solidFill>
                </a:rPr>
                <a:t>Storage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0" name="Rechthoek: afgeronde hoeken 15">
              <a:extLst>
                <a:ext uri="{FF2B5EF4-FFF2-40B4-BE49-F238E27FC236}">
                  <a16:creationId xmlns:a16="http://schemas.microsoft.com/office/drawing/2014/main" id="{B76AAA08-7FF1-7051-6311-D6F65F380C92}"/>
                </a:ext>
              </a:extLst>
            </p:cNvPr>
            <p:cNvSpPr/>
            <p:nvPr/>
          </p:nvSpPr>
          <p:spPr>
            <a:xfrm>
              <a:off x="2292878" y="2631230"/>
              <a:ext cx="1204856" cy="860611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Source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1" name="Pijl: rechts 16">
              <a:extLst>
                <a:ext uri="{FF2B5EF4-FFF2-40B4-BE49-F238E27FC236}">
                  <a16:creationId xmlns:a16="http://schemas.microsoft.com/office/drawing/2014/main" id="{821CDE74-FF22-0EDA-0F88-A74681F6AE57}"/>
                </a:ext>
              </a:extLst>
            </p:cNvPr>
            <p:cNvSpPr/>
            <p:nvPr/>
          </p:nvSpPr>
          <p:spPr>
            <a:xfrm>
              <a:off x="5513542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2" name="Pijl: rechts 17">
              <a:extLst>
                <a:ext uri="{FF2B5EF4-FFF2-40B4-BE49-F238E27FC236}">
                  <a16:creationId xmlns:a16="http://schemas.microsoft.com/office/drawing/2014/main" id="{E9CD2A38-989E-7936-674B-65D8793FD256}"/>
                </a:ext>
              </a:extLst>
            </p:cNvPr>
            <p:cNvSpPr/>
            <p:nvPr/>
          </p:nvSpPr>
          <p:spPr>
            <a:xfrm>
              <a:off x="6738489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3" name="Pijl: rechts 18">
              <a:extLst>
                <a:ext uri="{FF2B5EF4-FFF2-40B4-BE49-F238E27FC236}">
                  <a16:creationId xmlns:a16="http://schemas.microsoft.com/office/drawing/2014/main" id="{726DEB38-17C2-5326-C66B-5F56AB4B8D49}"/>
                </a:ext>
              </a:extLst>
            </p:cNvPr>
            <p:cNvSpPr/>
            <p:nvPr/>
          </p:nvSpPr>
          <p:spPr>
            <a:xfrm>
              <a:off x="3633368" y="304355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4" name="Pijl: rechts 19">
              <a:extLst>
                <a:ext uri="{FF2B5EF4-FFF2-40B4-BE49-F238E27FC236}">
                  <a16:creationId xmlns:a16="http://schemas.microsoft.com/office/drawing/2014/main" id="{C5C41FBE-B947-4D46-B17B-2A1153931DCE}"/>
                </a:ext>
              </a:extLst>
            </p:cNvPr>
            <p:cNvSpPr/>
            <p:nvPr/>
          </p:nvSpPr>
          <p:spPr>
            <a:xfrm>
              <a:off x="8655881" y="217218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5" name="Pijl: rechts 20">
              <a:extLst>
                <a:ext uri="{FF2B5EF4-FFF2-40B4-BE49-F238E27FC236}">
                  <a16:creationId xmlns:a16="http://schemas.microsoft.com/office/drawing/2014/main" id="{44890AA1-FBD5-3E2A-6952-48302CC9BBC6}"/>
                </a:ext>
              </a:extLst>
            </p:cNvPr>
            <p:cNvSpPr/>
            <p:nvPr/>
          </p:nvSpPr>
          <p:spPr>
            <a:xfrm>
              <a:off x="8633860" y="3005907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6" name="Pijl: rechts 21">
              <a:extLst>
                <a:ext uri="{FF2B5EF4-FFF2-40B4-BE49-F238E27FC236}">
                  <a16:creationId xmlns:a16="http://schemas.microsoft.com/office/drawing/2014/main" id="{6BEE8572-3389-94A2-12B9-F69BD96DA083}"/>
                </a:ext>
              </a:extLst>
            </p:cNvPr>
            <p:cNvSpPr/>
            <p:nvPr/>
          </p:nvSpPr>
          <p:spPr>
            <a:xfrm>
              <a:off x="8617239" y="3834244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7" name="Rechthoek: afgeronde hoeken 22">
              <a:extLst>
                <a:ext uri="{FF2B5EF4-FFF2-40B4-BE49-F238E27FC236}">
                  <a16:creationId xmlns:a16="http://schemas.microsoft.com/office/drawing/2014/main" id="{085BF53F-F099-C02E-83EB-3ECBE5CAA2B0}"/>
                </a:ext>
              </a:extLst>
            </p:cNvPr>
            <p:cNvSpPr/>
            <p:nvPr/>
          </p:nvSpPr>
          <p:spPr>
            <a:xfrm>
              <a:off x="9170262" y="1698853"/>
              <a:ext cx="1204856" cy="86061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Analytic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8" name="Rechthoek: afgeronde hoeken 23">
              <a:extLst>
                <a:ext uri="{FF2B5EF4-FFF2-40B4-BE49-F238E27FC236}">
                  <a16:creationId xmlns:a16="http://schemas.microsoft.com/office/drawing/2014/main" id="{C3577AC9-CE80-4112-2CC4-FC76B5C31091}"/>
                </a:ext>
              </a:extLst>
            </p:cNvPr>
            <p:cNvSpPr/>
            <p:nvPr/>
          </p:nvSpPr>
          <p:spPr>
            <a:xfrm>
              <a:off x="9170262" y="2597115"/>
              <a:ext cx="1204856" cy="86061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Machine Learn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9" name="Rechthoek: afgeronde hoeken 24">
              <a:extLst>
                <a:ext uri="{FF2B5EF4-FFF2-40B4-BE49-F238E27FC236}">
                  <a16:creationId xmlns:a16="http://schemas.microsoft.com/office/drawing/2014/main" id="{A5A0C9CF-6722-98AE-98FD-38B1E3EA01AC}"/>
                </a:ext>
              </a:extLst>
            </p:cNvPr>
            <p:cNvSpPr/>
            <p:nvPr/>
          </p:nvSpPr>
          <p:spPr>
            <a:xfrm>
              <a:off x="9170262" y="3495377"/>
              <a:ext cx="1204856" cy="86061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Integra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20" name="Rechte verbindingslijn 26">
              <a:extLst>
                <a:ext uri="{FF2B5EF4-FFF2-40B4-BE49-F238E27FC236}">
                  <a16:creationId xmlns:a16="http://schemas.microsoft.com/office/drawing/2014/main" id="{C8CA1C31-93FD-0C72-AE8B-F72E3B77D7C6}"/>
                </a:ext>
              </a:extLst>
            </p:cNvPr>
            <p:cNvCxnSpPr>
              <a:cxnSpLocks/>
            </p:cNvCxnSpPr>
            <p:nvPr/>
          </p:nvCxnSpPr>
          <p:spPr>
            <a:xfrm>
              <a:off x="1893233" y="4580631"/>
              <a:ext cx="8777489" cy="0"/>
            </a:xfrm>
            <a:prstGeom prst="line">
              <a:avLst/>
            </a:prstGeom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kstvak 28">
              <a:extLst>
                <a:ext uri="{FF2B5EF4-FFF2-40B4-BE49-F238E27FC236}">
                  <a16:creationId xmlns:a16="http://schemas.microsoft.com/office/drawing/2014/main" id="{15CE7A8B-77D3-4A14-F34B-F9B87DE3D83B}"/>
                </a:ext>
              </a:extLst>
            </p:cNvPr>
            <p:cNvSpPr txBox="1"/>
            <p:nvPr/>
          </p:nvSpPr>
          <p:spPr>
            <a:xfrm>
              <a:off x="5614260" y="4596252"/>
              <a:ext cx="133201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nl-BE" dirty="0" err="1">
                  <a:solidFill>
                    <a:schemeClr val="accent1">
                      <a:lumMod val="75000"/>
                    </a:schemeClr>
                  </a:solidFill>
                </a:rPr>
                <a:t>Undercurrents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2" name="Rechthoek: afgeronde hoeken 39">
              <a:extLst>
                <a:ext uri="{FF2B5EF4-FFF2-40B4-BE49-F238E27FC236}">
                  <a16:creationId xmlns:a16="http://schemas.microsoft.com/office/drawing/2014/main" id="{005A3E5C-4E6B-ED82-9EF6-50F9289F97B8}"/>
                </a:ext>
              </a:extLst>
            </p:cNvPr>
            <p:cNvSpPr/>
            <p:nvPr/>
          </p:nvSpPr>
          <p:spPr>
            <a:xfrm>
              <a:off x="6925604" y="5032321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Orchestra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3" name="Rechthoek: afgeronde hoeken 40">
              <a:extLst>
                <a:ext uri="{FF2B5EF4-FFF2-40B4-BE49-F238E27FC236}">
                  <a16:creationId xmlns:a16="http://schemas.microsoft.com/office/drawing/2014/main" id="{C8D3EB74-8D1C-5AE9-45F5-0FCCF75F8DBE}"/>
                </a:ext>
              </a:extLst>
            </p:cNvPr>
            <p:cNvSpPr/>
            <p:nvPr/>
          </p:nvSpPr>
          <p:spPr>
            <a:xfrm>
              <a:off x="8183703" y="5038117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oftware Engineer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4" name="Rechthoek: afgeronde hoeken 42">
              <a:extLst>
                <a:ext uri="{FF2B5EF4-FFF2-40B4-BE49-F238E27FC236}">
                  <a16:creationId xmlns:a16="http://schemas.microsoft.com/office/drawing/2014/main" id="{FEEBC3DF-65DB-35F8-98AD-1CBCEE4120B6}"/>
                </a:ext>
              </a:extLst>
            </p:cNvPr>
            <p:cNvSpPr/>
            <p:nvPr/>
          </p:nvSpPr>
          <p:spPr>
            <a:xfrm>
              <a:off x="1893204" y="5019150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ecurity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5" name="Rechthoek: afgeronde hoeken 43">
              <a:extLst>
                <a:ext uri="{FF2B5EF4-FFF2-40B4-BE49-F238E27FC236}">
                  <a16:creationId xmlns:a16="http://schemas.microsoft.com/office/drawing/2014/main" id="{F2940F19-D81B-3E91-88EB-5C03256056F9}"/>
                </a:ext>
              </a:extLst>
            </p:cNvPr>
            <p:cNvSpPr/>
            <p:nvPr/>
          </p:nvSpPr>
          <p:spPr>
            <a:xfrm>
              <a:off x="3151304" y="5024946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</a:t>
              </a:r>
              <a:r>
                <a:rPr lang="nl-BE" sz="1400" dirty="0">
                  <a:solidFill>
                    <a:schemeClr val="accent1">
                      <a:lumMod val="75000"/>
                    </a:schemeClr>
                  </a:solidFill>
                </a:rPr>
                <a:t> </a:t>
              </a:r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Management</a:t>
              </a:r>
              <a:endParaRPr lang="en-BE" sz="1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6" name="Rechthoek: afgeronde hoeken 44">
              <a:extLst>
                <a:ext uri="{FF2B5EF4-FFF2-40B4-BE49-F238E27FC236}">
                  <a16:creationId xmlns:a16="http://schemas.microsoft.com/office/drawing/2014/main" id="{A9DC158D-D4FA-5FA1-CA33-FFD6DAA09289}"/>
                </a:ext>
              </a:extLst>
            </p:cNvPr>
            <p:cNvSpPr/>
            <p:nvPr/>
          </p:nvSpPr>
          <p:spPr>
            <a:xfrm>
              <a:off x="4409404" y="5030742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DataOp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7" name="Rechthoek: afgeronde hoeken 45">
              <a:extLst>
                <a:ext uri="{FF2B5EF4-FFF2-40B4-BE49-F238E27FC236}">
                  <a16:creationId xmlns:a16="http://schemas.microsoft.com/office/drawing/2014/main" id="{AF06F1B5-8FF5-B466-7D65-D95198619C06}"/>
                </a:ext>
              </a:extLst>
            </p:cNvPr>
            <p:cNvSpPr/>
            <p:nvPr/>
          </p:nvSpPr>
          <p:spPr>
            <a:xfrm>
              <a:off x="5667504" y="503653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Architecture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8" name="Tekstvak 3">
              <a:extLst>
                <a:ext uri="{FF2B5EF4-FFF2-40B4-BE49-F238E27FC236}">
                  <a16:creationId xmlns:a16="http://schemas.microsoft.com/office/drawing/2014/main" id="{7F4BC875-E8FB-A32C-BF72-BBE00B7CF2F5}"/>
                </a:ext>
              </a:extLst>
            </p:cNvPr>
            <p:cNvSpPr txBox="1"/>
            <p:nvPr/>
          </p:nvSpPr>
          <p:spPr>
            <a:xfrm>
              <a:off x="4411834" y="6080051"/>
              <a:ext cx="36635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nl-BE" sz="1200" dirty="0" err="1">
                  <a:solidFill>
                    <a:schemeClr val="accent1">
                      <a:lumMod val="75000"/>
                    </a:schemeClr>
                  </a:solidFill>
                </a:rPr>
                <a:t>Inspired</a:t>
              </a:r>
              <a:r>
                <a:rPr lang="nl-BE" sz="1200" dirty="0">
                  <a:solidFill>
                    <a:schemeClr val="accent1">
                      <a:lumMod val="75000"/>
                    </a:schemeClr>
                  </a:solidFill>
                </a:rPr>
                <a:t> </a:t>
              </a:r>
              <a:r>
                <a:rPr lang="nl-BE" sz="1200" dirty="0" err="1">
                  <a:solidFill>
                    <a:schemeClr val="accent1">
                      <a:lumMod val="75000"/>
                    </a:schemeClr>
                  </a:solidFill>
                </a:rPr>
                <a:t>by</a:t>
              </a:r>
              <a:r>
                <a:rPr lang="nl-BE" sz="1200" dirty="0">
                  <a:solidFill>
                    <a:schemeClr val="accent1">
                      <a:lumMod val="75000"/>
                    </a:schemeClr>
                  </a:solidFill>
                </a:rPr>
                <a:t>: Fundamentals of Data Engineering [</a:t>
              </a:r>
              <a:r>
                <a:rPr lang="nl-BE" sz="1200" dirty="0" err="1">
                  <a:solidFill>
                    <a:schemeClr val="accent1">
                      <a:lumMod val="75000"/>
                    </a:schemeClr>
                  </a:solidFill>
                </a:rPr>
                <a:t>O’Reilly</a:t>
              </a:r>
              <a:r>
                <a:rPr lang="nl-BE" sz="1200" dirty="0">
                  <a:solidFill>
                    <a:schemeClr val="accent1">
                      <a:lumMod val="75000"/>
                    </a:schemeClr>
                  </a:solidFill>
                </a:rPr>
                <a:t>, 2022]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9" name="Rechthoek: afgeronde hoeken 4">
              <a:extLst>
                <a:ext uri="{FF2B5EF4-FFF2-40B4-BE49-F238E27FC236}">
                  <a16:creationId xmlns:a16="http://schemas.microsoft.com/office/drawing/2014/main" id="{C387D03F-A0BE-BA46-E914-8A2DC998D8B0}"/>
                </a:ext>
              </a:extLst>
            </p:cNvPr>
            <p:cNvSpPr/>
            <p:nvPr/>
          </p:nvSpPr>
          <p:spPr>
            <a:xfrm>
              <a:off x="9441802" y="504334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Cost</a:t>
              </a:r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 Management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2884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EE494F8-00AE-F127-FF0A-08194CCD6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’re building a (simple) DWH</a:t>
            </a:r>
            <a:endParaRPr lang="nl-BE" dirty="0"/>
          </a:p>
        </p:txBody>
      </p:sp>
      <p:sp>
        <p:nvSpPr>
          <p:cNvPr id="5" name="Rechthoek: afgeronde hoeken 12">
            <a:extLst>
              <a:ext uri="{FF2B5EF4-FFF2-40B4-BE49-F238E27FC236}">
                <a16:creationId xmlns:a16="http://schemas.microsoft.com/office/drawing/2014/main" id="{F7BB3856-62D3-5962-E359-4ABBD215CA21}"/>
              </a:ext>
            </a:extLst>
          </p:cNvPr>
          <p:cNvSpPr/>
          <p:nvPr/>
        </p:nvSpPr>
        <p:spPr>
          <a:xfrm>
            <a:off x="3194602" y="1998015"/>
            <a:ext cx="5778300" cy="22027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2400" dirty="0">
                <a:solidFill>
                  <a:schemeClr val="accent1">
                    <a:lumMod val="75000"/>
                  </a:schemeClr>
                </a:solidFill>
              </a:rPr>
              <a:t>Data platform</a:t>
            </a:r>
            <a:endParaRPr lang="en-BE" sz="2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Rechthoek: afgeronde hoeken 8">
            <a:extLst>
              <a:ext uri="{FF2B5EF4-FFF2-40B4-BE49-F238E27FC236}">
                <a16:creationId xmlns:a16="http://schemas.microsoft.com/office/drawing/2014/main" id="{4E00AF17-9876-82AB-1918-075C7F65F512}"/>
              </a:ext>
            </a:extLst>
          </p:cNvPr>
          <p:cNvSpPr/>
          <p:nvPr/>
        </p:nvSpPr>
        <p:spPr>
          <a:xfrm>
            <a:off x="3665715" y="2501077"/>
            <a:ext cx="1586199" cy="86061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Ingestion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" name="Rechthoek: afgeronde hoeken 9">
            <a:extLst>
              <a:ext uri="{FF2B5EF4-FFF2-40B4-BE49-F238E27FC236}">
                <a16:creationId xmlns:a16="http://schemas.microsoft.com/office/drawing/2014/main" id="{F7CA6D37-5A0E-6C1B-C947-7B1530D66106}"/>
              </a:ext>
            </a:extLst>
          </p:cNvPr>
          <p:cNvSpPr/>
          <p:nvPr/>
        </p:nvSpPr>
        <p:spPr>
          <a:xfrm>
            <a:off x="5290652" y="2501077"/>
            <a:ext cx="1586199" cy="86061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" rIns="3600"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Transformation</a:t>
            </a:r>
            <a:endParaRPr lang="en-BE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Rechthoek: afgeronde hoeken 10">
            <a:extLst>
              <a:ext uri="{FF2B5EF4-FFF2-40B4-BE49-F238E27FC236}">
                <a16:creationId xmlns:a16="http://schemas.microsoft.com/office/drawing/2014/main" id="{E5FD2761-A417-0059-78E3-0C3AD7E970DB}"/>
              </a:ext>
            </a:extLst>
          </p:cNvPr>
          <p:cNvSpPr/>
          <p:nvPr/>
        </p:nvSpPr>
        <p:spPr>
          <a:xfrm>
            <a:off x="6929753" y="2501076"/>
            <a:ext cx="1586199" cy="86061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Serving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" name="Rechthoek: afgeronde hoeken 11">
            <a:extLst>
              <a:ext uri="{FF2B5EF4-FFF2-40B4-BE49-F238E27FC236}">
                <a16:creationId xmlns:a16="http://schemas.microsoft.com/office/drawing/2014/main" id="{EADF5B38-9D46-45F7-8020-08BD70667E4D}"/>
              </a:ext>
            </a:extLst>
          </p:cNvPr>
          <p:cNvSpPr/>
          <p:nvPr/>
        </p:nvSpPr>
        <p:spPr>
          <a:xfrm>
            <a:off x="3665715" y="3426237"/>
            <a:ext cx="4850238" cy="45182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dirty="0">
                <a:solidFill>
                  <a:schemeClr val="accent1">
                    <a:lumMod val="75000"/>
                  </a:schemeClr>
                </a:solidFill>
              </a:rPr>
              <a:t>Storage</a:t>
            </a:r>
            <a:endParaRPr lang="en-BE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Rechthoek: afgeronde hoeken 15">
            <a:extLst>
              <a:ext uri="{FF2B5EF4-FFF2-40B4-BE49-F238E27FC236}">
                <a16:creationId xmlns:a16="http://schemas.microsoft.com/office/drawing/2014/main" id="{B76AAA08-7FF1-7051-6311-D6F65F380C92}"/>
              </a:ext>
            </a:extLst>
          </p:cNvPr>
          <p:cNvSpPr/>
          <p:nvPr/>
        </p:nvSpPr>
        <p:spPr>
          <a:xfrm>
            <a:off x="803528" y="2755720"/>
            <a:ext cx="1586199" cy="86061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Data Sources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1" name="Pijl: rechts 16">
            <a:extLst>
              <a:ext uri="{FF2B5EF4-FFF2-40B4-BE49-F238E27FC236}">
                <a16:creationId xmlns:a16="http://schemas.microsoft.com/office/drawing/2014/main" id="{821CDE74-FF22-0EDA-0F88-A74681F6AE57}"/>
              </a:ext>
            </a:extLst>
          </p:cNvPr>
          <p:cNvSpPr/>
          <p:nvPr/>
        </p:nvSpPr>
        <p:spPr>
          <a:xfrm>
            <a:off x="5043550" y="3205701"/>
            <a:ext cx="469630" cy="75305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2" name="Pijl: rechts 17">
            <a:extLst>
              <a:ext uri="{FF2B5EF4-FFF2-40B4-BE49-F238E27FC236}">
                <a16:creationId xmlns:a16="http://schemas.microsoft.com/office/drawing/2014/main" id="{E9CD2A38-989E-7936-674B-65D8793FD256}"/>
              </a:ext>
            </a:extLst>
          </p:cNvPr>
          <p:cNvSpPr/>
          <p:nvPr/>
        </p:nvSpPr>
        <p:spPr>
          <a:xfrm>
            <a:off x="6656199" y="3205701"/>
            <a:ext cx="469630" cy="75305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3" name="Pijl: rechts 18">
            <a:extLst>
              <a:ext uri="{FF2B5EF4-FFF2-40B4-BE49-F238E27FC236}">
                <a16:creationId xmlns:a16="http://schemas.microsoft.com/office/drawing/2014/main" id="{726DEB38-17C2-5326-C66B-5F56AB4B8D49}"/>
              </a:ext>
            </a:extLst>
          </p:cNvPr>
          <p:cNvSpPr/>
          <p:nvPr/>
        </p:nvSpPr>
        <p:spPr>
          <a:xfrm>
            <a:off x="2568290" y="3168049"/>
            <a:ext cx="469630" cy="75305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4" name="Pijl: rechts 19">
            <a:extLst>
              <a:ext uri="{FF2B5EF4-FFF2-40B4-BE49-F238E27FC236}">
                <a16:creationId xmlns:a16="http://schemas.microsoft.com/office/drawing/2014/main" id="{C5C41FBE-B947-4D46-B17B-2A1153931DCE}"/>
              </a:ext>
            </a:extLst>
          </p:cNvPr>
          <p:cNvSpPr/>
          <p:nvPr/>
        </p:nvSpPr>
        <p:spPr>
          <a:xfrm>
            <a:off x="9180456" y="2296679"/>
            <a:ext cx="469630" cy="75305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5" name="Pijl: rechts 20">
            <a:extLst>
              <a:ext uri="{FF2B5EF4-FFF2-40B4-BE49-F238E27FC236}">
                <a16:creationId xmlns:a16="http://schemas.microsoft.com/office/drawing/2014/main" id="{44890AA1-FBD5-3E2A-6952-48302CC9BBC6}"/>
              </a:ext>
            </a:extLst>
          </p:cNvPr>
          <p:cNvSpPr/>
          <p:nvPr/>
        </p:nvSpPr>
        <p:spPr>
          <a:xfrm>
            <a:off x="9151465" y="3130397"/>
            <a:ext cx="469630" cy="75305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6" name="Pijl: rechts 21">
            <a:extLst>
              <a:ext uri="{FF2B5EF4-FFF2-40B4-BE49-F238E27FC236}">
                <a16:creationId xmlns:a16="http://schemas.microsoft.com/office/drawing/2014/main" id="{6BEE8572-3389-94A2-12B9-F69BD96DA083}"/>
              </a:ext>
            </a:extLst>
          </p:cNvPr>
          <p:cNvSpPr/>
          <p:nvPr/>
        </p:nvSpPr>
        <p:spPr>
          <a:xfrm>
            <a:off x="9129584" y="3958734"/>
            <a:ext cx="469630" cy="75305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7" name="Rechthoek: afgeronde hoeken 22">
            <a:extLst>
              <a:ext uri="{FF2B5EF4-FFF2-40B4-BE49-F238E27FC236}">
                <a16:creationId xmlns:a16="http://schemas.microsoft.com/office/drawing/2014/main" id="{085BF53F-F099-C02E-83EB-3ECBE5CAA2B0}"/>
              </a:ext>
            </a:extLst>
          </p:cNvPr>
          <p:cNvSpPr/>
          <p:nvPr/>
        </p:nvSpPr>
        <p:spPr>
          <a:xfrm>
            <a:off x="9857641" y="1823343"/>
            <a:ext cx="1586199" cy="86061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Analytics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" name="Rechthoek: afgeronde hoeken 23">
            <a:extLst>
              <a:ext uri="{FF2B5EF4-FFF2-40B4-BE49-F238E27FC236}">
                <a16:creationId xmlns:a16="http://schemas.microsoft.com/office/drawing/2014/main" id="{C3577AC9-CE80-4112-2CC4-FC76B5C31091}"/>
              </a:ext>
            </a:extLst>
          </p:cNvPr>
          <p:cNvSpPr/>
          <p:nvPr/>
        </p:nvSpPr>
        <p:spPr>
          <a:xfrm>
            <a:off x="9857641" y="2721605"/>
            <a:ext cx="1586199" cy="86061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Machine Learning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9" name="Rechthoek: afgeronde hoeken 24">
            <a:extLst>
              <a:ext uri="{FF2B5EF4-FFF2-40B4-BE49-F238E27FC236}">
                <a16:creationId xmlns:a16="http://schemas.microsoft.com/office/drawing/2014/main" id="{A5A0C9CF-6722-98AE-98FD-38B1E3EA01AC}"/>
              </a:ext>
            </a:extLst>
          </p:cNvPr>
          <p:cNvSpPr/>
          <p:nvPr/>
        </p:nvSpPr>
        <p:spPr>
          <a:xfrm>
            <a:off x="9857641" y="3619867"/>
            <a:ext cx="1586199" cy="86061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Integration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20" name="Rechte verbindingslijn 26">
            <a:extLst>
              <a:ext uri="{FF2B5EF4-FFF2-40B4-BE49-F238E27FC236}">
                <a16:creationId xmlns:a16="http://schemas.microsoft.com/office/drawing/2014/main" id="{C8CA1C31-93FD-0C72-AE8B-F72E3B77D7C6}"/>
              </a:ext>
            </a:extLst>
          </p:cNvPr>
          <p:cNvCxnSpPr>
            <a:cxnSpLocks/>
          </p:cNvCxnSpPr>
          <p:nvPr/>
        </p:nvCxnSpPr>
        <p:spPr>
          <a:xfrm>
            <a:off x="277393" y="4705121"/>
            <a:ext cx="11555612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kstvak 28">
            <a:extLst>
              <a:ext uri="{FF2B5EF4-FFF2-40B4-BE49-F238E27FC236}">
                <a16:creationId xmlns:a16="http://schemas.microsoft.com/office/drawing/2014/main" id="{15CE7A8B-77D3-4A14-F34B-F9B87DE3D83B}"/>
              </a:ext>
            </a:extLst>
          </p:cNvPr>
          <p:cNvSpPr txBox="1"/>
          <p:nvPr/>
        </p:nvSpPr>
        <p:spPr>
          <a:xfrm>
            <a:off x="5176145" y="4720742"/>
            <a:ext cx="17536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dirty="0" err="1">
                <a:solidFill>
                  <a:schemeClr val="accent1">
                    <a:lumMod val="75000"/>
                  </a:schemeClr>
                </a:solidFill>
              </a:rPr>
              <a:t>Undercurrents</a:t>
            </a:r>
            <a:endParaRPr lang="en-BE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2" name="Rechthoek: afgeronde hoeken 39">
            <a:extLst>
              <a:ext uri="{FF2B5EF4-FFF2-40B4-BE49-F238E27FC236}">
                <a16:creationId xmlns:a16="http://schemas.microsoft.com/office/drawing/2014/main" id="{005A3E5C-4E6B-ED82-9EF6-50F9289F97B8}"/>
              </a:ext>
            </a:extLst>
          </p:cNvPr>
          <p:cNvSpPr/>
          <p:nvPr/>
        </p:nvSpPr>
        <p:spPr>
          <a:xfrm>
            <a:off x="6902537" y="5156811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" rIns="3600"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Orchestration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3" name="Rechthoek: afgeronde hoeken 40">
            <a:extLst>
              <a:ext uri="{FF2B5EF4-FFF2-40B4-BE49-F238E27FC236}">
                <a16:creationId xmlns:a16="http://schemas.microsoft.com/office/drawing/2014/main" id="{C8D3EB74-8D1C-5AE9-45F5-0FCCF75F8DBE}"/>
              </a:ext>
            </a:extLst>
          </p:cNvPr>
          <p:cNvSpPr/>
          <p:nvPr/>
        </p:nvSpPr>
        <p:spPr>
          <a:xfrm>
            <a:off x="8558831" y="5162607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Software Engineering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4" name="Rechthoek: afgeronde hoeken 42">
            <a:extLst>
              <a:ext uri="{FF2B5EF4-FFF2-40B4-BE49-F238E27FC236}">
                <a16:creationId xmlns:a16="http://schemas.microsoft.com/office/drawing/2014/main" id="{FEEBC3DF-65DB-35F8-98AD-1CBCEE4120B6}"/>
              </a:ext>
            </a:extLst>
          </p:cNvPr>
          <p:cNvSpPr/>
          <p:nvPr/>
        </p:nvSpPr>
        <p:spPr>
          <a:xfrm>
            <a:off x="277355" y="5143640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Security</a:t>
            </a:r>
            <a:endParaRPr lang="en-BE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5" name="Rechthoek: afgeronde hoeken 43">
            <a:extLst>
              <a:ext uri="{FF2B5EF4-FFF2-40B4-BE49-F238E27FC236}">
                <a16:creationId xmlns:a16="http://schemas.microsoft.com/office/drawing/2014/main" id="{F2940F19-D81B-3E91-88EB-5C03256056F9}"/>
              </a:ext>
            </a:extLst>
          </p:cNvPr>
          <p:cNvSpPr/>
          <p:nvPr/>
        </p:nvSpPr>
        <p:spPr>
          <a:xfrm>
            <a:off x="1933650" y="5149436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" rIns="3600"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Data</a:t>
            </a:r>
            <a:r>
              <a:rPr lang="nl-BE" sz="1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Management</a:t>
            </a:r>
            <a:endParaRPr lang="en-BE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6" name="Rechthoek: afgeronde hoeken 44">
            <a:extLst>
              <a:ext uri="{FF2B5EF4-FFF2-40B4-BE49-F238E27FC236}">
                <a16:creationId xmlns:a16="http://schemas.microsoft.com/office/drawing/2014/main" id="{A9DC158D-D4FA-5FA1-CA33-FFD6DAA09289}"/>
              </a:ext>
            </a:extLst>
          </p:cNvPr>
          <p:cNvSpPr/>
          <p:nvPr/>
        </p:nvSpPr>
        <p:spPr>
          <a:xfrm>
            <a:off x="3589946" y="5155232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DataOps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7" name="Rechthoek: afgeronde hoeken 45">
            <a:extLst>
              <a:ext uri="{FF2B5EF4-FFF2-40B4-BE49-F238E27FC236}">
                <a16:creationId xmlns:a16="http://schemas.microsoft.com/office/drawing/2014/main" id="{AF06F1B5-8FF5-B466-7D65-D95198619C06}"/>
              </a:ext>
            </a:extLst>
          </p:cNvPr>
          <p:cNvSpPr/>
          <p:nvPr/>
        </p:nvSpPr>
        <p:spPr>
          <a:xfrm>
            <a:off x="5246241" y="5161029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Data Architecture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9" name="Rechthoek: afgeronde hoeken 4">
            <a:extLst>
              <a:ext uri="{FF2B5EF4-FFF2-40B4-BE49-F238E27FC236}">
                <a16:creationId xmlns:a16="http://schemas.microsoft.com/office/drawing/2014/main" id="{C387D03F-A0BE-BA46-E914-8A2DC998D8B0}"/>
              </a:ext>
            </a:extLst>
          </p:cNvPr>
          <p:cNvSpPr/>
          <p:nvPr/>
        </p:nvSpPr>
        <p:spPr>
          <a:xfrm>
            <a:off x="10215125" y="5167839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" rIns="3600"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Cost</a:t>
            </a:r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 Management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78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F8E5"/>
                                      </p:to>
                                    </p:animClr>
                                    <p:set>
                                      <p:cBhvr>
                                        <p:cTn id="1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10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D199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8" grpId="0" animBg="1"/>
      <p:bldP spid="1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EE494F8-00AE-F127-FF0A-08194CCD6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e’re building a (simple) DWH</a:t>
            </a:r>
            <a:endParaRPr lang="nl-BE" dirty="0"/>
          </a:p>
        </p:txBody>
      </p:sp>
      <p:grpSp>
        <p:nvGrpSpPr>
          <p:cNvPr id="4" name="Groep 5">
            <a:extLst>
              <a:ext uri="{FF2B5EF4-FFF2-40B4-BE49-F238E27FC236}">
                <a16:creationId xmlns:a16="http://schemas.microsoft.com/office/drawing/2014/main" id="{3664F832-967D-29E6-D191-9553CCDA13FE}"/>
              </a:ext>
            </a:extLst>
          </p:cNvPr>
          <p:cNvGrpSpPr/>
          <p:nvPr/>
        </p:nvGrpSpPr>
        <p:grpSpPr>
          <a:xfrm>
            <a:off x="277355" y="1823343"/>
            <a:ext cx="11555650" cy="3977134"/>
            <a:chOff x="1893204" y="1698853"/>
            <a:chExt cx="8777518" cy="3977134"/>
          </a:xfrm>
        </p:grpSpPr>
        <p:sp>
          <p:nvSpPr>
            <p:cNvPr id="5" name="Rechthoek: afgeronde hoeken 12">
              <a:extLst>
                <a:ext uri="{FF2B5EF4-FFF2-40B4-BE49-F238E27FC236}">
                  <a16:creationId xmlns:a16="http://schemas.microsoft.com/office/drawing/2014/main" id="{F7BB3856-62D3-5962-E359-4ABBD215CA21}"/>
                </a:ext>
              </a:extLst>
            </p:cNvPr>
            <p:cNvSpPr/>
            <p:nvPr/>
          </p:nvSpPr>
          <p:spPr>
            <a:xfrm>
              <a:off x="4109106" y="1873525"/>
              <a:ext cx="4389120" cy="220276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2400" dirty="0">
                  <a:solidFill>
                    <a:schemeClr val="accent1">
                      <a:lumMod val="75000"/>
                    </a:schemeClr>
                  </a:solidFill>
                </a:rPr>
                <a:t>Data platform</a:t>
              </a:r>
              <a:endParaRPr lang="en-BE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6" name="Rechthoek: afgeronde hoeken 8">
              <a:extLst>
                <a:ext uri="{FF2B5EF4-FFF2-40B4-BE49-F238E27FC236}">
                  <a16:creationId xmlns:a16="http://schemas.microsoft.com/office/drawing/2014/main" id="{4E00AF17-9876-82AB-1918-075C7F65F512}"/>
                </a:ext>
              </a:extLst>
            </p:cNvPr>
            <p:cNvSpPr/>
            <p:nvPr/>
          </p:nvSpPr>
          <p:spPr>
            <a:xfrm>
              <a:off x="4466957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Inges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7" name="Rechthoek: afgeronde hoeken 9">
              <a:extLst>
                <a:ext uri="{FF2B5EF4-FFF2-40B4-BE49-F238E27FC236}">
                  <a16:creationId xmlns:a16="http://schemas.microsoft.com/office/drawing/2014/main" id="{F7CA6D37-5A0E-6C1B-C947-7B1530D66106}"/>
                </a:ext>
              </a:extLst>
            </p:cNvPr>
            <p:cNvSpPr/>
            <p:nvPr/>
          </p:nvSpPr>
          <p:spPr>
            <a:xfrm>
              <a:off x="5701238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Transformation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8" name="Rechthoek: afgeronde hoeken 10">
              <a:extLst>
                <a:ext uri="{FF2B5EF4-FFF2-40B4-BE49-F238E27FC236}">
                  <a16:creationId xmlns:a16="http://schemas.microsoft.com/office/drawing/2014/main" id="{E5FD2761-A417-0059-78E3-0C3AD7E970DB}"/>
                </a:ext>
              </a:extLst>
            </p:cNvPr>
            <p:cNvSpPr/>
            <p:nvPr/>
          </p:nvSpPr>
          <p:spPr>
            <a:xfrm>
              <a:off x="6946277" y="2376586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Serv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9" name="Rechthoek: afgeronde hoeken 11">
              <a:extLst>
                <a:ext uri="{FF2B5EF4-FFF2-40B4-BE49-F238E27FC236}">
                  <a16:creationId xmlns:a16="http://schemas.microsoft.com/office/drawing/2014/main" id="{EADF5B38-9D46-45F7-8020-08BD70667E4D}"/>
                </a:ext>
              </a:extLst>
            </p:cNvPr>
            <p:cNvSpPr/>
            <p:nvPr/>
          </p:nvSpPr>
          <p:spPr>
            <a:xfrm>
              <a:off x="4466957" y="3301747"/>
              <a:ext cx="3684176" cy="45182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dirty="0">
                  <a:solidFill>
                    <a:schemeClr val="accent1">
                      <a:lumMod val="75000"/>
                    </a:schemeClr>
                  </a:solidFill>
                </a:rPr>
                <a:t>Storage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0" name="Rechthoek: afgeronde hoeken 15">
              <a:extLst>
                <a:ext uri="{FF2B5EF4-FFF2-40B4-BE49-F238E27FC236}">
                  <a16:creationId xmlns:a16="http://schemas.microsoft.com/office/drawing/2014/main" id="{B76AAA08-7FF1-7051-6311-D6F65F380C92}"/>
                </a:ext>
              </a:extLst>
            </p:cNvPr>
            <p:cNvSpPr/>
            <p:nvPr/>
          </p:nvSpPr>
          <p:spPr>
            <a:xfrm>
              <a:off x="2292878" y="2631230"/>
              <a:ext cx="1204856" cy="860611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Source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1" name="Pijl: rechts 16">
              <a:extLst>
                <a:ext uri="{FF2B5EF4-FFF2-40B4-BE49-F238E27FC236}">
                  <a16:creationId xmlns:a16="http://schemas.microsoft.com/office/drawing/2014/main" id="{821CDE74-FF22-0EDA-0F88-A74681F6AE57}"/>
                </a:ext>
              </a:extLst>
            </p:cNvPr>
            <p:cNvSpPr/>
            <p:nvPr/>
          </p:nvSpPr>
          <p:spPr>
            <a:xfrm>
              <a:off x="5513542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2" name="Pijl: rechts 17">
              <a:extLst>
                <a:ext uri="{FF2B5EF4-FFF2-40B4-BE49-F238E27FC236}">
                  <a16:creationId xmlns:a16="http://schemas.microsoft.com/office/drawing/2014/main" id="{E9CD2A38-989E-7936-674B-65D8793FD256}"/>
                </a:ext>
              </a:extLst>
            </p:cNvPr>
            <p:cNvSpPr/>
            <p:nvPr/>
          </p:nvSpPr>
          <p:spPr>
            <a:xfrm>
              <a:off x="6738489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3" name="Pijl: rechts 18">
              <a:extLst>
                <a:ext uri="{FF2B5EF4-FFF2-40B4-BE49-F238E27FC236}">
                  <a16:creationId xmlns:a16="http://schemas.microsoft.com/office/drawing/2014/main" id="{726DEB38-17C2-5326-C66B-5F56AB4B8D49}"/>
                </a:ext>
              </a:extLst>
            </p:cNvPr>
            <p:cNvSpPr/>
            <p:nvPr/>
          </p:nvSpPr>
          <p:spPr>
            <a:xfrm>
              <a:off x="3633368" y="304355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4" name="Pijl: rechts 19">
              <a:extLst>
                <a:ext uri="{FF2B5EF4-FFF2-40B4-BE49-F238E27FC236}">
                  <a16:creationId xmlns:a16="http://schemas.microsoft.com/office/drawing/2014/main" id="{C5C41FBE-B947-4D46-B17B-2A1153931DCE}"/>
                </a:ext>
              </a:extLst>
            </p:cNvPr>
            <p:cNvSpPr/>
            <p:nvPr/>
          </p:nvSpPr>
          <p:spPr>
            <a:xfrm>
              <a:off x="8655881" y="217218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7" name="Rechthoek: afgeronde hoeken 22">
              <a:extLst>
                <a:ext uri="{FF2B5EF4-FFF2-40B4-BE49-F238E27FC236}">
                  <a16:creationId xmlns:a16="http://schemas.microsoft.com/office/drawing/2014/main" id="{085BF53F-F099-C02E-83EB-3ECBE5CAA2B0}"/>
                </a:ext>
              </a:extLst>
            </p:cNvPr>
            <p:cNvSpPr/>
            <p:nvPr/>
          </p:nvSpPr>
          <p:spPr>
            <a:xfrm>
              <a:off x="9170262" y="1698853"/>
              <a:ext cx="1204856" cy="86061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Analytic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20" name="Rechte verbindingslijn 26">
              <a:extLst>
                <a:ext uri="{FF2B5EF4-FFF2-40B4-BE49-F238E27FC236}">
                  <a16:creationId xmlns:a16="http://schemas.microsoft.com/office/drawing/2014/main" id="{C8CA1C31-93FD-0C72-AE8B-F72E3B77D7C6}"/>
                </a:ext>
              </a:extLst>
            </p:cNvPr>
            <p:cNvCxnSpPr>
              <a:cxnSpLocks/>
            </p:cNvCxnSpPr>
            <p:nvPr/>
          </p:nvCxnSpPr>
          <p:spPr>
            <a:xfrm>
              <a:off x="1893233" y="4580631"/>
              <a:ext cx="8777489" cy="0"/>
            </a:xfrm>
            <a:prstGeom prst="line">
              <a:avLst/>
            </a:prstGeom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kstvak 28">
              <a:extLst>
                <a:ext uri="{FF2B5EF4-FFF2-40B4-BE49-F238E27FC236}">
                  <a16:creationId xmlns:a16="http://schemas.microsoft.com/office/drawing/2014/main" id="{15CE7A8B-77D3-4A14-F34B-F9B87DE3D83B}"/>
                </a:ext>
              </a:extLst>
            </p:cNvPr>
            <p:cNvSpPr txBox="1"/>
            <p:nvPr/>
          </p:nvSpPr>
          <p:spPr>
            <a:xfrm>
              <a:off x="5614260" y="4596252"/>
              <a:ext cx="174278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nl-BE" dirty="0" err="1">
                  <a:solidFill>
                    <a:schemeClr val="accent1">
                      <a:lumMod val="75000"/>
                    </a:schemeClr>
                  </a:solidFill>
                </a:rPr>
                <a:t>Undercurrents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2" name="Rechthoek: afgeronde hoeken 39">
              <a:extLst>
                <a:ext uri="{FF2B5EF4-FFF2-40B4-BE49-F238E27FC236}">
                  <a16:creationId xmlns:a16="http://schemas.microsoft.com/office/drawing/2014/main" id="{005A3E5C-4E6B-ED82-9EF6-50F9289F97B8}"/>
                </a:ext>
              </a:extLst>
            </p:cNvPr>
            <p:cNvSpPr/>
            <p:nvPr/>
          </p:nvSpPr>
          <p:spPr>
            <a:xfrm>
              <a:off x="6925604" y="5032321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Orchestra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3" name="Rechthoek: afgeronde hoeken 40">
              <a:extLst>
                <a:ext uri="{FF2B5EF4-FFF2-40B4-BE49-F238E27FC236}">
                  <a16:creationId xmlns:a16="http://schemas.microsoft.com/office/drawing/2014/main" id="{C8D3EB74-8D1C-5AE9-45F5-0FCCF75F8DBE}"/>
                </a:ext>
              </a:extLst>
            </p:cNvPr>
            <p:cNvSpPr/>
            <p:nvPr/>
          </p:nvSpPr>
          <p:spPr>
            <a:xfrm>
              <a:off x="8183703" y="5038117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oftware Engineer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4" name="Rechthoek: afgeronde hoeken 42">
              <a:extLst>
                <a:ext uri="{FF2B5EF4-FFF2-40B4-BE49-F238E27FC236}">
                  <a16:creationId xmlns:a16="http://schemas.microsoft.com/office/drawing/2014/main" id="{FEEBC3DF-65DB-35F8-98AD-1CBCEE4120B6}"/>
                </a:ext>
              </a:extLst>
            </p:cNvPr>
            <p:cNvSpPr/>
            <p:nvPr/>
          </p:nvSpPr>
          <p:spPr>
            <a:xfrm>
              <a:off x="1893204" y="5019150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ecurity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5" name="Rechthoek: afgeronde hoeken 43">
              <a:extLst>
                <a:ext uri="{FF2B5EF4-FFF2-40B4-BE49-F238E27FC236}">
                  <a16:creationId xmlns:a16="http://schemas.microsoft.com/office/drawing/2014/main" id="{F2940F19-D81B-3E91-88EB-5C03256056F9}"/>
                </a:ext>
              </a:extLst>
            </p:cNvPr>
            <p:cNvSpPr/>
            <p:nvPr/>
          </p:nvSpPr>
          <p:spPr>
            <a:xfrm>
              <a:off x="3151304" y="5024946"/>
              <a:ext cx="1204856" cy="632638"/>
            </a:xfrm>
            <a:prstGeom prst="roundRect">
              <a:avLst/>
            </a:prstGeom>
            <a:solidFill>
              <a:srgbClr val="FFF8E5"/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Data</a:t>
              </a:r>
              <a:r>
                <a:rPr lang="nl-BE" sz="14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 </a:t>
              </a:r>
              <a:r>
                <a:rPr lang="nl-BE" sz="16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Management</a:t>
              </a:r>
              <a:endParaRPr lang="en-BE" sz="1400" dirty="0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26" name="Rechthoek: afgeronde hoeken 44">
              <a:extLst>
                <a:ext uri="{FF2B5EF4-FFF2-40B4-BE49-F238E27FC236}">
                  <a16:creationId xmlns:a16="http://schemas.microsoft.com/office/drawing/2014/main" id="{A9DC158D-D4FA-5FA1-CA33-FFD6DAA09289}"/>
                </a:ext>
              </a:extLst>
            </p:cNvPr>
            <p:cNvSpPr/>
            <p:nvPr/>
          </p:nvSpPr>
          <p:spPr>
            <a:xfrm>
              <a:off x="4409404" y="5030742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DataOp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7" name="Rechthoek: afgeronde hoeken 45">
              <a:extLst>
                <a:ext uri="{FF2B5EF4-FFF2-40B4-BE49-F238E27FC236}">
                  <a16:creationId xmlns:a16="http://schemas.microsoft.com/office/drawing/2014/main" id="{AF06F1B5-8FF5-B466-7D65-D95198619C06}"/>
                </a:ext>
              </a:extLst>
            </p:cNvPr>
            <p:cNvSpPr/>
            <p:nvPr/>
          </p:nvSpPr>
          <p:spPr>
            <a:xfrm>
              <a:off x="5667504" y="503653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Architecture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9" name="Rechthoek: afgeronde hoeken 4">
              <a:extLst>
                <a:ext uri="{FF2B5EF4-FFF2-40B4-BE49-F238E27FC236}">
                  <a16:creationId xmlns:a16="http://schemas.microsoft.com/office/drawing/2014/main" id="{C387D03F-A0BE-BA46-E914-8A2DC998D8B0}"/>
                </a:ext>
              </a:extLst>
            </p:cNvPr>
            <p:cNvSpPr/>
            <p:nvPr/>
          </p:nvSpPr>
          <p:spPr>
            <a:xfrm>
              <a:off x="9441802" y="504334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Cost</a:t>
              </a:r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 Management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pic>
        <p:nvPicPr>
          <p:cNvPr id="31" name="Graphic 30">
            <a:extLst>
              <a:ext uri="{FF2B5EF4-FFF2-40B4-BE49-F238E27FC236}">
                <a16:creationId xmlns:a16="http://schemas.microsoft.com/office/drawing/2014/main" id="{5E08049D-8DBD-9AC1-8524-555DF53688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7406" y="5878691"/>
            <a:ext cx="359385" cy="359385"/>
          </a:xfrm>
          <a:prstGeom prst="rect">
            <a:avLst/>
          </a:prstGeom>
        </p:spPr>
      </p:pic>
      <p:sp>
        <p:nvSpPr>
          <p:cNvPr id="32" name="Tekstvak 41">
            <a:extLst>
              <a:ext uri="{FF2B5EF4-FFF2-40B4-BE49-F238E27FC236}">
                <a16:creationId xmlns:a16="http://schemas.microsoft.com/office/drawing/2014/main" id="{3B20353B-056F-6ADC-7F8E-D00B73472D25}"/>
              </a:ext>
            </a:extLst>
          </p:cNvPr>
          <p:cNvSpPr txBox="1"/>
          <p:nvPr/>
        </p:nvSpPr>
        <p:spPr>
          <a:xfrm>
            <a:off x="806791" y="5904495"/>
            <a:ext cx="8723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Entra</a:t>
            </a:r>
            <a:r>
              <a:rPr lang="en-US" sz="1400" dirty="0"/>
              <a:t> ID</a:t>
            </a:r>
            <a:endParaRPr lang="en-US" sz="2000" dirty="0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7C78CE23-14F1-74AC-3AF7-7D4418F0413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6479" y="6328233"/>
            <a:ext cx="359385" cy="359385"/>
          </a:xfrm>
          <a:prstGeom prst="rect">
            <a:avLst/>
          </a:prstGeom>
        </p:spPr>
      </p:pic>
      <p:sp>
        <p:nvSpPr>
          <p:cNvPr id="34" name="Tekstvak 44">
            <a:extLst>
              <a:ext uri="{FF2B5EF4-FFF2-40B4-BE49-F238E27FC236}">
                <a16:creationId xmlns:a16="http://schemas.microsoft.com/office/drawing/2014/main" id="{2D3404E8-8F1D-4AE3-3562-6BD9A54AC169}"/>
              </a:ext>
            </a:extLst>
          </p:cNvPr>
          <p:cNvSpPr txBox="1"/>
          <p:nvPr/>
        </p:nvSpPr>
        <p:spPr>
          <a:xfrm>
            <a:off x="806791" y="6354037"/>
            <a:ext cx="9907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Key Vault</a:t>
            </a:r>
            <a:endParaRPr lang="en-US" sz="2000" dirty="0"/>
          </a:p>
        </p:txBody>
      </p:sp>
      <p:sp>
        <p:nvSpPr>
          <p:cNvPr id="38" name="Rechthoek 52">
            <a:extLst>
              <a:ext uri="{FF2B5EF4-FFF2-40B4-BE49-F238E27FC236}">
                <a16:creationId xmlns:a16="http://schemas.microsoft.com/office/drawing/2014/main" id="{505DDFB4-7937-4986-795F-E40F3130921B}"/>
              </a:ext>
            </a:extLst>
          </p:cNvPr>
          <p:cNvSpPr/>
          <p:nvPr/>
        </p:nvSpPr>
        <p:spPr>
          <a:xfrm>
            <a:off x="4050201" y="5894807"/>
            <a:ext cx="861133" cy="3271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kstvak 51">
            <a:extLst>
              <a:ext uri="{FF2B5EF4-FFF2-40B4-BE49-F238E27FC236}">
                <a16:creationId xmlns:a16="http://schemas.microsoft.com/office/drawing/2014/main" id="{EF404E25-F05D-C6DD-D242-BF579E8C4EC9}"/>
              </a:ext>
            </a:extLst>
          </p:cNvPr>
          <p:cNvSpPr txBox="1"/>
          <p:nvPr/>
        </p:nvSpPr>
        <p:spPr>
          <a:xfrm>
            <a:off x="4023805" y="5904495"/>
            <a:ext cx="861133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DevOps</a:t>
            </a:r>
            <a:endParaRPr lang="en-US" sz="2000" dirty="0"/>
          </a:p>
        </p:txBody>
      </p:sp>
      <p:pic>
        <p:nvPicPr>
          <p:cNvPr id="40" name="Picture 2" descr="Azure Devops Logo PNG vector in SVG, PDF, AI, CDR format">
            <a:extLst>
              <a:ext uri="{FF2B5EF4-FFF2-40B4-BE49-F238E27FC236}">
                <a16:creationId xmlns:a16="http://schemas.microsoft.com/office/drawing/2014/main" id="{49DF96B7-F904-785B-FBF3-E22A32E77C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1175" y="5875820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Afbeelding 53" descr="Afbeelding met Graphics, grafische vormgeving, clipart, creativiteit&#10;&#10;Automatisch gegenereerde beschrijving">
            <a:extLst>
              <a:ext uri="{FF2B5EF4-FFF2-40B4-BE49-F238E27FC236}">
                <a16:creationId xmlns:a16="http://schemas.microsoft.com/office/drawing/2014/main" id="{2724679F-1E83-2BF1-D0DD-4CC6267C08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0377" y="5935744"/>
            <a:ext cx="244801" cy="245279"/>
          </a:xfrm>
          <a:prstGeom prst="rect">
            <a:avLst/>
          </a:prstGeom>
        </p:spPr>
      </p:pic>
      <p:sp>
        <p:nvSpPr>
          <p:cNvPr id="42" name="Tekstvak 54">
            <a:extLst>
              <a:ext uri="{FF2B5EF4-FFF2-40B4-BE49-F238E27FC236}">
                <a16:creationId xmlns:a16="http://schemas.microsoft.com/office/drawing/2014/main" id="{A873D263-2A32-C662-E9B9-26A3DFE74C46}"/>
              </a:ext>
            </a:extLst>
          </p:cNvPr>
          <p:cNvSpPr txBox="1"/>
          <p:nvPr/>
        </p:nvSpPr>
        <p:spPr>
          <a:xfrm>
            <a:off x="7207311" y="5904495"/>
            <a:ext cx="12682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Data Factory</a:t>
            </a:r>
            <a:endParaRPr lang="en-US" sz="2000" dirty="0"/>
          </a:p>
        </p:txBody>
      </p:sp>
      <p:sp>
        <p:nvSpPr>
          <p:cNvPr id="43" name="Tekstvak 55">
            <a:extLst>
              <a:ext uri="{FF2B5EF4-FFF2-40B4-BE49-F238E27FC236}">
                <a16:creationId xmlns:a16="http://schemas.microsoft.com/office/drawing/2014/main" id="{6CA09944-DC59-00AC-1CA5-D7E86C4FA3C4}"/>
              </a:ext>
            </a:extLst>
          </p:cNvPr>
          <p:cNvSpPr txBox="1"/>
          <p:nvPr/>
        </p:nvSpPr>
        <p:spPr>
          <a:xfrm>
            <a:off x="8962287" y="5904495"/>
            <a:ext cx="861133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DevOps</a:t>
            </a:r>
            <a:endParaRPr lang="en-US" sz="2000" dirty="0"/>
          </a:p>
        </p:txBody>
      </p:sp>
      <p:pic>
        <p:nvPicPr>
          <p:cNvPr id="44" name="Picture 2" descr="Azure Devops Logo PNG vector in SVG, PDF, AI, CDR format">
            <a:extLst>
              <a:ext uri="{FF2B5EF4-FFF2-40B4-BE49-F238E27FC236}">
                <a16:creationId xmlns:a16="http://schemas.microsoft.com/office/drawing/2014/main" id="{DE1EDACC-0F76-FDF3-2ACF-CB3B647CE0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9657" y="5875820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" descr="Azure Repos Logo PNG vector in SVG, PDF, AI, CDR format">
            <a:extLst>
              <a:ext uri="{FF2B5EF4-FFF2-40B4-BE49-F238E27FC236}">
                <a16:creationId xmlns:a16="http://schemas.microsoft.com/office/drawing/2014/main" id="{ABBA8645-7E5F-416A-FCB7-9F0C7823D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1671" y="6319368"/>
            <a:ext cx="502432" cy="377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kstvak 58">
            <a:extLst>
              <a:ext uri="{FF2B5EF4-FFF2-40B4-BE49-F238E27FC236}">
                <a16:creationId xmlns:a16="http://schemas.microsoft.com/office/drawing/2014/main" id="{D1F91B39-4CBB-4B4A-AE25-40BB5F3FB154}"/>
              </a:ext>
            </a:extLst>
          </p:cNvPr>
          <p:cNvSpPr txBox="1"/>
          <p:nvPr/>
        </p:nvSpPr>
        <p:spPr>
          <a:xfrm>
            <a:off x="8962287" y="6354037"/>
            <a:ext cx="7312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Repos</a:t>
            </a:r>
            <a:endParaRPr lang="en-US" sz="2000" dirty="0"/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id="{1A94C140-F939-69BE-231F-0CBB2454979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232884" y="5907433"/>
            <a:ext cx="301900" cy="301900"/>
          </a:xfrm>
          <a:prstGeom prst="rect">
            <a:avLst/>
          </a:prstGeom>
        </p:spPr>
      </p:pic>
      <p:sp>
        <p:nvSpPr>
          <p:cNvPr id="48" name="Tekstvak 1030">
            <a:extLst>
              <a:ext uri="{FF2B5EF4-FFF2-40B4-BE49-F238E27FC236}">
                <a16:creationId xmlns:a16="http://schemas.microsoft.com/office/drawing/2014/main" id="{0AFDDBEA-338B-15F2-8D37-DAD4E5C5EEC4}"/>
              </a:ext>
            </a:extLst>
          </p:cNvPr>
          <p:cNvSpPr txBox="1"/>
          <p:nvPr/>
        </p:nvSpPr>
        <p:spPr>
          <a:xfrm>
            <a:off x="10502097" y="5904495"/>
            <a:ext cx="17251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Cost Management</a:t>
            </a:r>
            <a:endParaRPr lang="en-US" sz="2000" dirty="0"/>
          </a:p>
        </p:txBody>
      </p:sp>
      <p:pic>
        <p:nvPicPr>
          <p:cNvPr id="49" name="Afbeelding 1031" descr="Afbeelding met geel, schermopname, ontwerp&#10;&#10;Automatisch gegenereerde beschrijving">
            <a:extLst>
              <a:ext uri="{FF2B5EF4-FFF2-40B4-BE49-F238E27FC236}">
                <a16:creationId xmlns:a16="http://schemas.microsoft.com/office/drawing/2014/main" id="{8EB57E82-898B-9977-D5CF-D8B8953FFCA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5003" y="6371130"/>
            <a:ext cx="273057" cy="273591"/>
          </a:xfrm>
          <a:prstGeom prst="rect">
            <a:avLst/>
          </a:prstGeom>
        </p:spPr>
      </p:pic>
      <p:sp>
        <p:nvSpPr>
          <p:cNvPr id="50" name="Tekstvak 1032">
            <a:extLst>
              <a:ext uri="{FF2B5EF4-FFF2-40B4-BE49-F238E27FC236}">
                <a16:creationId xmlns:a16="http://schemas.microsoft.com/office/drawing/2014/main" id="{54A61659-1658-845F-CF9A-524AC2784F48}"/>
              </a:ext>
            </a:extLst>
          </p:cNvPr>
          <p:cNvSpPr txBox="1"/>
          <p:nvPr/>
        </p:nvSpPr>
        <p:spPr>
          <a:xfrm>
            <a:off x="10515241" y="6354037"/>
            <a:ext cx="9525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Power BI</a:t>
            </a:r>
            <a:endParaRPr lang="en-US" sz="2000" dirty="0"/>
          </a:p>
        </p:txBody>
      </p:sp>
      <p:pic>
        <p:nvPicPr>
          <p:cNvPr id="51" name="Picture 2" descr="Getting started with Terraform in DevOps - Aviator Blog">
            <a:extLst>
              <a:ext uri="{FF2B5EF4-FFF2-40B4-BE49-F238E27FC236}">
                <a16:creationId xmlns:a16="http://schemas.microsoft.com/office/drawing/2014/main" id="{49289B0E-F193-B521-0E5F-5C64A2A1A1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0675" y="6310058"/>
            <a:ext cx="527460" cy="395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kstvak 2">
            <a:extLst>
              <a:ext uri="{FF2B5EF4-FFF2-40B4-BE49-F238E27FC236}">
                <a16:creationId xmlns:a16="http://schemas.microsoft.com/office/drawing/2014/main" id="{27C0C6DE-12F9-1D32-82E1-9B9E86B0E0FB}"/>
              </a:ext>
            </a:extLst>
          </p:cNvPr>
          <p:cNvSpPr txBox="1"/>
          <p:nvPr/>
        </p:nvSpPr>
        <p:spPr>
          <a:xfrm>
            <a:off x="4008238" y="6354037"/>
            <a:ext cx="1019318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Terraform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496110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EE494F8-00AE-F127-FF0A-08194CCD6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e’re building a (simple) DWH</a:t>
            </a:r>
            <a:endParaRPr lang="nl-BE" dirty="0"/>
          </a:p>
        </p:txBody>
      </p:sp>
      <p:grpSp>
        <p:nvGrpSpPr>
          <p:cNvPr id="4" name="Groep 5">
            <a:extLst>
              <a:ext uri="{FF2B5EF4-FFF2-40B4-BE49-F238E27FC236}">
                <a16:creationId xmlns:a16="http://schemas.microsoft.com/office/drawing/2014/main" id="{3664F832-967D-29E6-D191-9553CCDA13FE}"/>
              </a:ext>
            </a:extLst>
          </p:cNvPr>
          <p:cNvGrpSpPr/>
          <p:nvPr/>
        </p:nvGrpSpPr>
        <p:grpSpPr>
          <a:xfrm>
            <a:off x="277355" y="1823343"/>
            <a:ext cx="11555650" cy="3977134"/>
            <a:chOff x="1893204" y="1698853"/>
            <a:chExt cx="8777518" cy="3977134"/>
          </a:xfrm>
        </p:grpSpPr>
        <p:sp>
          <p:nvSpPr>
            <p:cNvPr id="5" name="Rechthoek: afgeronde hoeken 12">
              <a:extLst>
                <a:ext uri="{FF2B5EF4-FFF2-40B4-BE49-F238E27FC236}">
                  <a16:creationId xmlns:a16="http://schemas.microsoft.com/office/drawing/2014/main" id="{F7BB3856-62D3-5962-E359-4ABBD215CA21}"/>
                </a:ext>
              </a:extLst>
            </p:cNvPr>
            <p:cNvSpPr/>
            <p:nvPr/>
          </p:nvSpPr>
          <p:spPr>
            <a:xfrm>
              <a:off x="4109106" y="1873525"/>
              <a:ext cx="4389120" cy="220276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2400" dirty="0">
                  <a:solidFill>
                    <a:schemeClr val="accent1">
                      <a:lumMod val="75000"/>
                    </a:schemeClr>
                  </a:solidFill>
                </a:rPr>
                <a:t>Data platform</a:t>
              </a:r>
              <a:endParaRPr lang="en-BE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6" name="Rechthoek: afgeronde hoeken 8">
              <a:extLst>
                <a:ext uri="{FF2B5EF4-FFF2-40B4-BE49-F238E27FC236}">
                  <a16:creationId xmlns:a16="http://schemas.microsoft.com/office/drawing/2014/main" id="{4E00AF17-9876-82AB-1918-075C7F65F512}"/>
                </a:ext>
              </a:extLst>
            </p:cNvPr>
            <p:cNvSpPr/>
            <p:nvPr/>
          </p:nvSpPr>
          <p:spPr>
            <a:xfrm>
              <a:off x="4466957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Inges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7" name="Rechthoek: afgeronde hoeken 9">
              <a:extLst>
                <a:ext uri="{FF2B5EF4-FFF2-40B4-BE49-F238E27FC236}">
                  <a16:creationId xmlns:a16="http://schemas.microsoft.com/office/drawing/2014/main" id="{F7CA6D37-5A0E-6C1B-C947-7B1530D66106}"/>
                </a:ext>
              </a:extLst>
            </p:cNvPr>
            <p:cNvSpPr/>
            <p:nvPr/>
          </p:nvSpPr>
          <p:spPr>
            <a:xfrm>
              <a:off x="5701238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b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</a:br>
              <a:b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</a:br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Transformation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8" name="Rechthoek: afgeronde hoeken 10">
              <a:extLst>
                <a:ext uri="{FF2B5EF4-FFF2-40B4-BE49-F238E27FC236}">
                  <a16:creationId xmlns:a16="http://schemas.microsoft.com/office/drawing/2014/main" id="{E5FD2761-A417-0059-78E3-0C3AD7E970DB}"/>
                </a:ext>
              </a:extLst>
            </p:cNvPr>
            <p:cNvSpPr/>
            <p:nvPr/>
          </p:nvSpPr>
          <p:spPr>
            <a:xfrm>
              <a:off x="6946277" y="2376586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Serv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9" name="Rechthoek: afgeronde hoeken 11">
              <a:extLst>
                <a:ext uri="{FF2B5EF4-FFF2-40B4-BE49-F238E27FC236}">
                  <a16:creationId xmlns:a16="http://schemas.microsoft.com/office/drawing/2014/main" id="{EADF5B38-9D46-45F7-8020-08BD70667E4D}"/>
                </a:ext>
              </a:extLst>
            </p:cNvPr>
            <p:cNvSpPr/>
            <p:nvPr/>
          </p:nvSpPr>
          <p:spPr>
            <a:xfrm>
              <a:off x="4466957" y="3301747"/>
              <a:ext cx="3684176" cy="45182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dirty="0">
                  <a:solidFill>
                    <a:schemeClr val="accent1">
                      <a:lumMod val="75000"/>
                    </a:schemeClr>
                  </a:solidFill>
                </a:rPr>
                <a:t>Storage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0" name="Rechthoek: afgeronde hoeken 15">
              <a:extLst>
                <a:ext uri="{FF2B5EF4-FFF2-40B4-BE49-F238E27FC236}">
                  <a16:creationId xmlns:a16="http://schemas.microsoft.com/office/drawing/2014/main" id="{B76AAA08-7FF1-7051-6311-D6F65F380C92}"/>
                </a:ext>
              </a:extLst>
            </p:cNvPr>
            <p:cNvSpPr/>
            <p:nvPr/>
          </p:nvSpPr>
          <p:spPr>
            <a:xfrm>
              <a:off x="2292878" y="2631230"/>
              <a:ext cx="1204856" cy="860611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Source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1" name="Pijl: rechts 16">
              <a:extLst>
                <a:ext uri="{FF2B5EF4-FFF2-40B4-BE49-F238E27FC236}">
                  <a16:creationId xmlns:a16="http://schemas.microsoft.com/office/drawing/2014/main" id="{821CDE74-FF22-0EDA-0F88-A74681F6AE57}"/>
                </a:ext>
              </a:extLst>
            </p:cNvPr>
            <p:cNvSpPr/>
            <p:nvPr/>
          </p:nvSpPr>
          <p:spPr>
            <a:xfrm>
              <a:off x="5513542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2" name="Pijl: rechts 17">
              <a:extLst>
                <a:ext uri="{FF2B5EF4-FFF2-40B4-BE49-F238E27FC236}">
                  <a16:creationId xmlns:a16="http://schemas.microsoft.com/office/drawing/2014/main" id="{E9CD2A38-989E-7936-674B-65D8793FD256}"/>
                </a:ext>
              </a:extLst>
            </p:cNvPr>
            <p:cNvSpPr/>
            <p:nvPr/>
          </p:nvSpPr>
          <p:spPr>
            <a:xfrm>
              <a:off x="6738489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3" name="Pijl: rechts 18">
              <a:extLst>
                <a:ext uri="{FF2B5EF4-FFF2-40B4-BE49-F238E27FC236}">
                  <a16:creationId xmlns:a16="http://schemas.microsoft.com/office/drawing/2014/main" id="{726DEB38-17C2-5326-C66B-5F56AB4B8D49}"/>
                </a:ext>
              </a:extLst>
            </p:cNvPr>
            <p:cNvSpPr/>
            <p:nvPr/>
          </p:nvSpPr>
          <p:spPr>
            <a:xfrm>
              <a:off x="3633368" y="304355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4" name="Pijl: rechts 19">
              <a:extLst>
                <a:ext uri="{FF2B5EF4-FFF2-40B4-BE49-F238E27FC236}">
                  <a16:creationId xmlns:a16="http://schemas.microsoft.com/office/drawing/2014/main" id="{C5C41FBE-B947-4D46-B17B-2A1153931DCE}"/>
                </a:ext>
              </a:extLst>
            </p:cNvPr>
            <p:cNvSpPr/>
            <p:nvPr/>
          </p:nvSpPr>
          <p:spPr>
            <a:xfrm>
              <a:off x="8655881" y="217218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7" name="Rechthoek: afgeronde hoeken 22">
              <a:extLst>
                <a:ext uri="{FF2B5EF4-FFF2-40B4-BE49-F238E27FC236}">
                  <a16:creationId xmlns:a16="http://schemas.microsoft.com/office/drawing/2014/main" id="{085BF53F-F099-C02E-83EB-3ECBE5CAA2B0}"/>
                </a:ext>
              </a:extLst>
            </p:cNvPr>
            <p:cNvSpPr/>
            <p:nvPr/>
          </p:nvSpPr>
          <p:spPr>
            <a:xfrm>
              <a:off x="9170262" y="1698853"/>
              <a:ext cx="1204856" cy="86061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Analytic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20" name="Rechte verbindingslijn 26">
              <a:extLst>
                <a:ext uri="{FF2B5EF4-FFF2-40B4-BE49-F238E27FC236}">
                  <a16:creationId xmlns:a16="http://schemas.microsoft.com/office/drawing/2014/main" id="{C8CA1C31-93FD-0C72-AE8B-F72E3B77D7C6}"/>
                </a:ext>
              </a:extLst>
            </p:cNvPr>
            <p:cNvCxnSpPr>
              <a:cxnSpLocks/>
            </p:cNvCxnSpPr>
            <p:nvPr/>
          </p:nvCxnSpPr>
          <p:spPr>
            <a:xfrm>
              <a:off x="1893233" y="4580631"/>
              <a:ext cx="8777489" cy="0"/>
            </a:xfrm>
            <a:prstGeom prst="line">
              <a:avLst/>
            </a:prstGeom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kstvak 28">
              <a:extLst>
                <a:ext uri="{FF2B5EF4-FFF2-40B4-BE49-F238E27FC236}">
                  <a16:creationId xmlns:a16="http://schemas.microsoft.com/office/drawing/2014/main" id="{15CE7A8B-77D3-4A14-F34B-F9B87DE3D83B}"/>
                </a:ext>
              </a:extLst>
            </p:cNvPr>
            <p:cNvSpPr txBox="1"/>
            <p:nvPr/>
          </p:nvSpPr>
          <p:spPr>
            <a:xfrm>
              <a:off x="5614260" y="4596252"/>
              <a:ext cx="174278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nl-BE" dirty="0" err="1">
                  <a:solidFill>
                    <a:schemeClr val="accent1">
                      <a:lumMod val="75000"/>
                    </a:schemeClr>
                  </a:solidFill>
                </a:rPr>
                <a:t>Undercurrents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2" name="Rechthoek: afgeronde hoeken 39">
              <a:extLst>
                <a:ext uri="{FF2B5EF4-FFF2-40B4-BE49-F238E27FC236}">
                  <a16:creationId xmlns:a16="http://schemas.microsoft.com/office/drawing/2014/main" id="{005A3E5C-4E6B-ED82-9EF6-50F9289F97B8}"/>
                </a:ext>
              </a:extLst>
            </p:cNvPr>
            <p:cNvSpPr/>
            <p:nvPr/>
          </p:nvSpPr>
          <p:spPr>
            <a:xfrm>
              <a:off x="6925604" y="5032321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Orchestra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3" name="Rechthoek: afgeronde hoeken 40">
              <a:extLst>
                <a:ext uri="{FF2B5EF4-FFF2-40B4-BE49-F238E27FC236}">
                  <a16:creationId xmlns:a16="http://schemas.microsoft.com/office/drawing/2014/main" id="{C8D3EB74-8D1C-5AE9-45F5-0FCCF75F8DBE}"/>
                </a:ext>
              </a:extLst>
            </p:cNvPr>
            <p:cNvSpPr/>
            <p:nvPr/>
          </p:nvSpPr>
          <p:spPr>
            <a:xfrm>
              <a:off x="8183703" y="5038117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oftware Engineer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4" name="Rechthoek: afgeronde hoeken 42">
              <a:extLst>
                <a:ext uri="{FF2B5EF4-FFF2-40B4-BE49-F238E27FC236}">
                  <a16:creationId xmlns:a16="http://schemas.microsoft.com/office/drawing/2014/main" id="{FEEBC3DF-65DB-35F8-98AD-1CBCEE4120B6}"/>
                </a:ext>
              </a:extLst>
            </p:cNvPr>
            <p:cNvSpPr/>
            <p:nvPr/>
          </p:nvSpPr>
          <p:spPr>
            <a:xfrm>
              <a:off x="1893204" y="5019150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ecurity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5" name="Rechthoek: afgeronde hoeken 43">
              <a:extLst>
                <a:ext uri="{FF2B5EF4-FFF2-40B4-BE49-F238E27FC236}">
                  <a16:creationId xmlns:a16="http://schemas.microsoft.com/office/drawing/2014/main" id="{F2940F19-D81B-3E91-88EB-5C03256056F9}"/>
                </a:ext>
              </a:extLst>
            </p:cNvPr>
            <p:cNvSpPr/>
            <p:nvPr/>
          </p:nvSpPr>
          <p:spPr>
            <a:xfrm>
              <a:off x="3151304" y="5024946"/>
              <a:ext cx="1204856" cy="632638"/>
            </a:xfrm>
            <a:prstGeom prst="roundRect">
              <a:avLst/>
            </a:prstGeom>
            <a:solidFill>
              <a:srgbClr val="FFF8E5"/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Data</a:t>
              </a:r>
              <a:r>
                <a:rPr lang="nl-BE" sz="14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 </a:t>
              </a:r>
              <a:r>
                <a:rPr lang="nl-BE" sz="16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Management</a:t>
              </a:r>
              <a:endParaRPr lang="en-BE" sz="1400" dirty="0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26" name="Rechthoek: afgeronde hoeken 44">
              <a:extLst>
                <a:ext uri="{FF2B5EF4-FFF2-40B4-BE49-F238E27FC236}">
                  <a16:creationId xmlns:a16="http://schemas.microsoft.com/office/drawing/2014/main" id="{A9DC158D-D4FA-5FA1-CA33-FFD6DAA09289}"/>
                </a:ext>
              </a:extLst>
            </p:cNvPr>
            <p:cNvSpPr/>
            <p:nvPr/>
          </p:nvSpPr>
          <p:spPr>
            <a:xfrm>
              <a:off x="4409404" y="5030742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DataOp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7" name="Rechthoek: afgeronde hoeken 45">
              <a:extLst>
                <a:ext uri="{FF2B5EF4-FFF2-40B4-BE49-F238E27FC236}">
                  <a16:creationId xmlns:a16="http://schemas.microsoft.com/office/drawing/2014/main" id="{AF06F1B5-8FF5-B466-7D65-D95198619C06}"/>
                </a:ext>
              </a:extLst>
            </p:cNvPr>
            <p:cNvSpPr/>
            <p:nvPr/>
          </p:nvSpPr>
          <p:spPr>
            <a:xfrm>
              <a:off x="5667504" y="503653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Architecture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9" name="Rechthoek: afgeronde hoeken 4">
              <a:extLst>
                <a:ext uri="{FF2B5EF4-FFF2-40B4-BE49-F238E27FC236}">
                  <a16:creationId xmlns:a16="http://schemas.microsoft.com/office/drawing/2014/main" id="{C387D03F-A0BE-BA46-E914-8A2DC998D8B0}"/>
                </a:ext>
              </a:extLst>
            </p:cNvPr>
            <p:cNvSpPr/>
            <p:nvPr/>
          </p:nvSpPr>
          <p:spPr>
            <a:xfrm>
              <a:off x="9441802" y="504334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Cost</a:t>
              </a:r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 Management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pic>
        <p:nvPicPr>
          <p:cNvPr id="31" name="Graphic 30">
            <a:extLst>
              <a:ext uri="{FF2B5EF4-FFF2-40B4-BE49-F238E27FC236}">
                <a16:creationId xmlns:a16="http://schemas.microsoft.com/office/drawing/2014/main" id="{5E08049D-8DBD-9AC1-8524-555DF53688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7406" y="5878691"/>
            <a:ext cx="359385" cy="359385"/>
          </a:xfrm>
          <a:prstGeom prst="rect">
            <a:avLst/>
          </a:prstGeom>
        </p:spPr>
      </p:pic>
      <p:sp>
        <p:nvSpPr>
          <p:cNvPr id="32" name="Tekstvak 41">
            <a:extLst>
              <a:ext uri="{FF2B5EF4-FFF2-40B4-BE49-F238E27FC236}">
                <a16:creationId xmlns:a16="http://schemas.microsoft.com/office/drawing/2014/main" id="{3B20353B-056F-6ADC-7F8E-D00B73472D25}"/>
              </a:ext>
            </a:extLst>
          </p:cNvPr>
          <p:cNvSpPr txBox="1"/>
          <p:nvPr/>
        </p:nvSpPr>
        <p:spPr>
          <a:xfrm>
            <a:off x="806791" y="5904495"/>
            <a:ext cx="8723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Entra</a:t>
            </a:r>
            <a:r>
              <a:rPr lang="en-US" sz="1400" dirty="0"/>
              <a:t> ID</a:t>
            </a:r>
            <a:endParaRPr lang="en-US" sz="2000" dirty="0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7C78CE23-14F1-74AC-3AF7-7D4418F0413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6479" y="6328233"/>
            <a:ext cx="359385" cy="359385"/>
          </a:xfrm>
          <a:prstGeom prst="rect">
            <a:avLst/>
          </a:prstGeom>
        </p:spPr>
      </p:pic>
      <p:sp>
        <p:nvSpPr>
          <p:cNvPr id="34" name="Tekstvak 44">
            <a:extLst>
              <a:ext uri="{FF2B5EF4-FFF2-40B4-BE49-F238E27FC236}">
                <a16:creationId xmlns:a16="http://schemas.microsoft.com/office/drawing/2014/main" id="{2D3404E8-8F1D-4AE3-3562-6BD9A54AC169}"/>
              </a:ext>
            </a:extLst>
          </p:cNvPr>
          <p:cNvSpPr txBox="1"/>
          <p:nvPr/>
        </p:nvSpPr>
        <p:spPr>
          <a:xfrm>
            <a:off x="806791" y="6354037"/>
            <a:ext cx="9907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Key Vault</a:t>
            </a:r>
            <a:endParaRPr lang="en-US" sz="2000" dirty="0"/>
          </a:p>
        </p:txBody>
      </p:sp>
      <p:sp>
        <p:nvSpPr>
          <p:cNvPr id="38" name="Rechthoek 52">
            <a:extLst>
              <a:ext uri="{FF2B5EF4-FFF2-40B4-BE49-F238E27FC236}">
                <a16:creationId xmlns:a16="http://schemas.microsoft.com/office/drawing/2014/main" id="{505DDFB4-7937-4986-795F-E40F3130921B}"/>
              </a:ext>
            </a:extLst>
          </p:cNvPr>
          <p:cNvSpPr/>
          <p:nvPr/>
        </p:nvSpPr>
        <p:spPr>
          <a:xfrm>
            <a:off x="4050201" y="5894807"/>
            <a:ext cx="861133" cy="3271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kstvak 51">
            <a:extLst>
              <a:ext uri="{FF2B5EF4-FFF2-40B4-BE49-F238E27FC236}">
                <a16:creationId xmlns:a16="http://schemas.microsoft.com/office/drawing/2014/main" id="{EF404E25-F05D-C6DD-D242-BF579E8C4EC9}"/>
              </a:ext>
            </a:extLst>
          </p:cNvPr>
          <p:cNvSpPr txBox="1"/>
          <p:nvPr/>
        </p:nvSpPr>
        <p:spPr>
          <a:xfrm>
            <a:off x="4023805" y="5904495"/>
            <a:ext cx="861133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DevOps</a:t>
            </a:r>
            <a:endParaRPr lang="en-US" sz="2000" dirty="0"/>
          </a:p>
        </p:txBody>
      </p:sp>
      <p:pic>
        <p:nvPicPr>
          <p:cNvPr id="40" name="Picture 2" descr="Azure Devops Logo PNG vector in SVG, PDF, AI, CDR format">
            <a:extLst>
              <a:ext uri="{FF2B5EF4-FFF2-40B4-BE49-F238E27FC236}">
                <a16:creationId xmlns:a16="http://schemas.microsoft.com/office/drawing/2014/main" id="{49DF96B7-F904-785B-FBF3-E22A32E77C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1175" y="5875820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kstvak 54">
            <a:extLst>
              <a:ext uri="{FF2B5EF4-FFF2-40B4-BE49-F238E27FC236}">
                <a16:creationId xmlns:a16="http://schemas.microsoft.com/office/drawing/2014/main" id="{A873D263-2A32-C662-E9B9-26A3DFE74C46}"/>
              </a:ext>
            </a:extLst>
          </p:cNvPr>
          <p:cNvSpPr txBox="1"/>
          <p:nvPr/>
        </p:nvSpPr>
        <p:spPr>
          <a:xfrm>
            <a:off x="7207311" y="5904495"/>
            <a:ext cx="12682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Data Factory</a:t>
            </a:r>
            <a:endParaRPr lang="en-US" sz="2000" dirty="0"/>
          </a:p>
        </p:txBody>
      </p:sp>
      <p:sp>
        <p:nvSpPr>
          <p:cNvPr id="43" name="Tekstvak 55">
            <a:extLst>
              <a:ext uri="{FF2B5EF4-FFF2-40B4-BE49-F238E27FC236}">
                <a16:creationId xmlns:a16="http://schemas.microsoft.com/office/drawing/2014/main" id="{6CA09944-DC59-00AC-1CA5-D7E86C4FA3C4}"/>
              </a:ext>
            </a:extLst>
          </p:cNvPr>
          <p:cNvSpPr txBox="1"/>
          <p:nvPr/>
        </p:nvSpPr>
        <p:spPr>
          <a:xfrm>
            <a:off x="8962287" y="5904495"/>
            <a:ext cx="861133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DevOps</a:t>
            </a:r>
            <a:endParaRPr lang="en-US" sz="2000" dirty="0"/>
          </a:p>
        </p:txBody>
      </p:sp>
      <p:pic>
        <p:nvPicPr>
          <p:cNvPr id="44" name="Picture 2" descr="Azure Devops Logo PNG vector in SVG, PDF, AI, CDR format">
            <a:extLst>
              <a:ext uri="{FF2B5EF4-FFF2-40B4-BE49-F238E27FC236}">
                <a16:creationId xmlns:a16="http://schemas.microsoft.com/office/drawing/2014/main" id="{DE1EDACC-0F76-FDF3-2ACF-CB3B647CE0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9657" y="5875820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" descr="Azure Repos Logo PNG vector in SVG, PDF, AI, CDR format">
            <a:extLst>
              <a:ext uri="{FF2B5EF4-FFF2-40B4-BE49-F238E27FC236}">
                <a16:creationId xmlns:a16="http://schemas.microsoft.com/office/drawing/2014/main" id="{ABBA8645-7E5F-416A-FCB7-9F0C7823D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1671" y="6319368"/>
            <a:ext cx="502432" cy="377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kstvak 58">
            <a:extLst>
              <a:ext uri="{FF2B5EF4-FFF2-40B4-BE49-F238E27FC236}">
                <a16:creationId xmlns:a16="http://schemas.microsoft.com/office/drawing/2014/main" id="{D1F91B39-4CBB-4B4A-AE25-40BB5F3FB154}"/>
              </a:ext>
            </a:extLst>
          </p:cNvPr>
          <p:cNvSpPr txBox="1"/>
          <p:nvPr/>
        </p:nvSpPr>
        <p:spPr>
          <a:xfrm>
            <a:off x="8962287" y="6354037"/>
            <a:ext cx="7312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Repos</a:t>
            </a:r>
            <a:endParaRPr lang="en-US" sz="2000" dirty="0"/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id="{1A94C140-F939-69BE-231F-0CBB2454979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232884" y="5907433"/>
            <a:ext cx="301900" cy="301900"/>
          </a:xfrm>
          <a:prstGeom prst="rect">
            <a:avLst/>
          </a:prstGeom>
        </p:spPr>
      </p:pic>
      <p:sp>
        <p:nvSpPr>
          <p:cNvPr id="48" name="Tekstvak 1030">
            <a:extLst>
              <a:ext uri="{FF2B5EF4-FFF2-40B4-BE49-F238E27FC236}">
                <a16:creationId xmlns:a16="http://schemas.microsoft.com/office/drawing/2014/main" id="{0AFDDBEA-338B-15F2-8D37-DAD4E5C5EEC4}"/>
              </a:ext>
            </a:extLst>
          </p:cNvPr>
          <p:cNvSpPr txBox="1"/>
          <p:nvPr/>
        </p:nvSpPr>
        <p:spPr>
          <a:xfrm>
            <a:off x="10502097" y="5904495"/>
            <a:ext cx="17251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Cost Management</a:t>
            </a:r>
            <a:endParaRPr lang="en-US" sz="2000" dirty="0"/>
          </a:p>
        </p:txBody>
      </p:sp>
      <p:pic>
        <p:nvPicPr>
          <p:cNvPr id="49" name="Afbeelding 1031" descr="Afbeelding met geel, schermopname, ontwerp&#10;&#10;Automatisch gegenereerde beschrijving">
            <a:extLst>
              <a:ext uri="{FF2B5EF4-FFF2-40B4-BE49-F238E27FC236}">
                <a16:creationId xmlns:a16="http://schemas.microsoft.com/office/drawing/2014/main" id="{8EB57E82-898B-9977-D5CF-D8B8953FFCA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5003" y="6371130"/>
            <a:ext cx="273057" cy="273591"/>
          </a:xfrm>
          <a:prstGeom prst="rect">
            <a:avLst/>
          </a:prstGeom>
        </p:spPr>
      </p:pic>
      <p:sp>
        <p:nvSpPr>
          <p:cNvPr id="50" name="Tekstvak 1032">
            <a:extLst>
              <a:ext uri="{FF2B5EF4-FFF2-40B4-BE49-F238E27FC236}">
                <a16:creationId xmlns:a16="http://schemas.microsoft.com/office/drawing/2014/main" id="{54A61659-1658-845F-CF9A-524AC2784F48}"/>
              </a:ext>
            </a:extLst>
          </p:cNvPr>
          <p:cNvSpPr txBox="1"/>
          <p:nvPr/>
        </p:nvSpPr>
        <p:spPr>
          <a:xfrm>
            <a:off x="10515241" y="6354037"/>
            <a:ext cx="9525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Power BI</a:t>
            </a:r>
            <a:endParaRPr lang="en-US" sz="2000" dirty="0"/>
          </a:p>
        </p:txBody>
      </p:sp>
      <p:pic>
        <p:nvPicPr>
          <p:cNvPr id="51" name="Picture 2" descr="Getting started with Terraform in DevOps - Aviator Blog">
            <a:extLst>
              <a:ext uri="{FF2B5EF4-FFF2-40B4-BE49-F238E27FC236}">
                <a16:creationId xmlns:a16="http://schemas.microsoft.com/office/drawing/2014/main" id="{49289B0E-F193-B521-0E5F-5C64A2A1A1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0675" y="6310058"/>
            <a:ext cx="527460" cy="395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kstvak 2">
            <a:extLst>
              <a:ext uri="{FF2B5EF4-FFF2-40B4-BE49-F238E27FC236}">
                <a16:creationId xmlns:a16="http://schemas.microsoft.com/office/drawing/2014/main" id="{27C0C6DE-12F9-1D32-82E1-9B9E86B0E0FB}"/>
              </a:ext>
            </a:extLst>
          </p:cNvPr>
          <p:cNvSpPr txBox="1"/>
          <p:nvPr/>
        </p:nvSpPr>
        <p:spPr>
          <a:xfrm>
            <a:off x="4008238" y="6354037"/>
            <a:ext cx="1019318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Terraform</a:t>
            </a:r>
            <a:endParaRPr lang="en-US" sz="2000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48AB70E-5B9D-D7A2-E096-E515FC4A786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06713" y="3349530"/>
            <a:ext cx="572794" cy="572794"/>
          </a:xfrm>
          <a:prstGeom prst="rect">
            <a:avLst/>
          </a:prstGeom>
        </p:spPr>
      </p:pic>
      <p:pic>
        <p:nvPicPr>
          <p:cNvPr id="16" name="Picture 6" descr="SharePoint Online | Thomas-Krenn.AG">
            <a:extLst>
              <a:ext uri="{FF2B5EF4-FFF2-40B4-BE49-F238E27FC236}">
                <a16:creationId xmlns:a16="http://schemas.microsoft.com/office/drawing/2014/main" id="{AD43268F-F591-611B-DC90-92A8D9F3A72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52" t="10449" r="17798" b="12381"/>
          <a:stretch/>
        </p:blipFill>
        <p:spPr bwMode="auto">
          <a:xfrm>
            <a:off x="1531548" y="3738472"/>
            <a:ext cx="732386" cy="654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Exact Online – Syneton">
            <a:extLst>
              <a:ext uri="{FF2B5EF4-FFF2-40B4-BE49-F238E27FC236}">
                <a16:creationId xmlns:a16="http://schemas.microsoft.com/office/drawing/2014/main" id="{304BDB6B-D144-CBA6-D863-494975AD4A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359" b="26410"/>
          <a:stretch/>
        </p:blipFill>
        <p:spPr bwMode="auto">
          <a:xfrm>
            <a:off x="1158133" y="1441849"/>
            <a:ext cx="1055232" cy="519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AFAS Software Integratie voor geavanceerde planning - Timewax">
            <a:extLst>
              <a:ext uri="{FF2B5EF4-FFF2-40B4-BE49-F238E27FC236}">
                <a16:creationId xmlns:a16="http://schemas.microsoft.com/office/drawing/2014/main" id="{A4F3DA49-3954-AEBF-A7D1-A18626E4AC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398" b="23999"/>
          <a:stretch/>
        </p:blipFill>
        <p:spPr bwMode="auto">
          <a:xfrm>
            <a:off x="606171" y="1827456"/>
            <a:ext cx="1055232" cy="544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857C83A6-978F-A6F3-455D-95A5DF33D5C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85339" y="3642135"/>
            <a:ext cx="572794" cy="572794"/>
          </a:xfrm>
          <a:prstGeom prst="rect">
            <a:avLst/>
          </a:prstGeom>
        </p:spPr>
      </p:pic>
      <p:pic>
        <p:nvPicPr>
          <p:cNvPr id="3074" name="Picture 2" descr="What is Microsoft CRM Dynamics 365? | TechRadar">
            <a:extLst>
              <a:ext uri="{FF2B5EF4-FFF2-40B4-BE49-F238E27FC236}">
                <a16:creationId xmlns:a16="http://schemas.microsoft.com/office/drawing/2014/main" id="{9F41EAB6-3171-47AE-2F65-E06B80D61A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2" t="20232" r="6922" b="20489"/>
          <a:stretch/>
        </p:blipFill>
        <p:spPr bwMode="auto">
          <a:xfrm>
            <a:off x="1602021" y="2061247"/>
            <a:ext cx="1488803" cy="576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Afbeelding 13" descr="Afbeelding met geel, schermopname, ontwerp&#10;&#10;Automatisch gegenereerde beschrijving">
            <a:extLst>
              <a:ext uri="{FF2B5EF4-FFF2-40B4-BE49-F238E27FC236}">
                <a16:creationId xmlns:a16="http://schemas.microsoft.com/office/drawing/2014/main" id="{A27A6A5E-E5E2-23BD-994D-1CD39DF5F82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7109" y="2773336"/>
            <a:ext cx="587204" cy="588351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6460BD68-7B16-2257-F3C8-5A463BCCB6D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004255" y="3524615"/>
            <a:ext cx="572794" cy="572794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EEED50FA-3537-8E06-E354-B526AE2F75D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130124" y="2516610"/>
            <a:ext cx="572794" cy="572794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370C85BD-C397-E62C-9906-1D28F3FD2218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728568" y="2402536"/>
            <a:ext cx="483185" cy="483185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6D64791F-7C0C-4296-9F2B-C28FFA731B6B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243269" y="2338944"/>
            <a:ext cx="544528" cy="544528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48075621-5ACF-975C-8410-24E1791FE2FF}"/>
              </a:ext>
            </a:extLst>
          </p:cNvPr>
          <p:cNvPicPr>
            <a:picLocks noChangeAspect="1"/>
          </p:cNvPicPr>
          <p:nvPr/>
        </p:nvPicPr>
        <p:blipFill rotWithShape="1">
          <a:blip r:embed="rId23"/>
          <a:srcRect l="32368" t="16434" r="33020" b="12217"/>
          <a:stretch/>
        </p:blipFill>
        <p:spPr>
          <a:xfrm>
            <a:off x="5858808" y="2531505"/>
            <a:ext cx="464051" cy="552588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CAB3D931-7F89-EAD7-EFAC-E48A8B5ECAA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844573" y="2420918"/>
            <a:ext cx="396000" cy="396000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F1D1BD74-835D-1805-6715-ED4948694600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969262" y="5882492"/>
            <a:ext cx="288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623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A564521-D1CF-0E55-896D-6CFD4A0233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gest</a:t>
            </a:r>
            <a:endParaRPr lang="nl-BE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C253A81-FD6A-4242-9334-1E62453B9CF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278060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281309E-040C-B2FD-263C-FCDB9D20F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Data Factory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07E5BC-8CC4-4108-D33B-CC02534A1D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812" y="2355574"/>
            <a:ext cx="11018376" cy="2822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487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45CB2F-A918-26E1-3416-7B35EC262A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adata driven</a:t>
            </a:r>
            <a:endParaRPr lang="nl-BE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2C1FBFC-C9B5-4C54-D3A9-B1060BF401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742950" indent="-742950">
              <a:buFont typeface="+mj-lt"/>
              <a:buAutoNum type="arabicPeriod"/>
            </a:pPr>
            <a:r>
              <a:rPr lang="en-US" sz="3600" dirty="0"/>
              <a:t>develop something once</a:t>
            </a:r>
          </a:p>
          <a:p>
            <a:pPr marL="0" indent="0">
              <a:buNone/>
            </a:pPr>
            <a:r>
              <a:rPr lang="en-US" sz="3600" dirty="0"/>
              <a:t>	(for example, a connection to your ERP 	 	 system)</a:t>
            </a:r>
          </a:p>
          <a:p>
            <a:pPr marL="742950" indent="-742950">
              <a:buFont typeface="+mj-lt"/>
              <a:buAutoNum type="arabicPeriod"/>
            </a:pPr>
            <a:endParaRPr lang="en-US" sz="3600" dirty="0"/>
          </a:p>
          <a:p>
            <a:pPr marL="742950" indent="-742950">
              <a:buFont typeface="+mj-lt"/>
              <a:buAutoNum type="arabicPeriod" startAt="2"/>
            </a:pPr>
            <a:r>
              <a:rPr lang="en-US" sz="3600" dirty="0"/>
              <a:t>parameterize it</a:t>
            </a:r>
          </a:p>
          <a:p>
            <a:pPr marL="742950" indent="-742950">
              <a:buFont typeface="+mj-lt"/>
              <a:buAutoNum type="arabicPeriod" startAt="2"/>
            </a:pPr>
            <a:r>
              <a:rPr lang="en-US" sz="3600" dirty="0"/>
              <a:t>new table/file/REST endpoint? Just add </a:t>
            </a:r>
            <a:r>
              <a:rPr lang="en-US" sz="3600" b="1" dirty="0"/>
              <a:t>metadata</a:t>
            </a:r>
          </a:p>
          <a:p>
            <a:pPr marL="742950" indent="-742950">
              <a:buFont typeface="+mj-lt"/>
              <a:buAutoNum type="arabicPeriod" startAt="2"/>
            </a:pPr>
            <a:r>
              <a:rPr lang="en-US" sz="3600" dirty="0"/>
              <a:t>try to get metadata of the source programmatically </a:t>
            </a:r>
          </a:p>
        </p:txBody>
      </p:sp>
    </p:spTree>
    <p:extLst>
      <p:ext uri="{BB962C8B-B14F-4D97-AF65-F5344CB8AC3E}">
        <p14:creationId xmlns:p14="http://schemas.microsoft.com/office/powerpoint/2010/main" val="2424307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920F31D-0130-46CE-BD74-AF2DA2AFA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meterize everything</a:t>
            </a:r>
            <a:endParaRPr lang="nl-B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BA2B00-4226-44A4-BE6E-D4813C40CB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116" y="1414673"/>
            <a:ext cx="6904318" cy="49610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9A2EBAD-69FA-41DF-A9A8-EC53EF3710C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0721"/>
          <a:stretch/>
        </p:blipFill>
        <p:spPr>
          <a:xfrm>
            <a:off x="5318481" y="4152900"/>
            <a:ext cx="6431837" cy="2053718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A3DE0DF-DB67-48A8-8220-587ABF5E2286}"/>
              </a:ext>
            </a:extLst>
          </p:cNvPr>
          <p:cNvCxnSpPr>
            <a:cxnSpLocks/>
          </p:cNvCxnSpPr>
          <p:nvPr/>
        </p:nvCxnSpPr>
        <p:spPr>
          <a:xfrm>
            <a:off x="5076092" y="2099182"/>
            <a:ext cx="0" cy="124189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71EA53D-37A2-4EBC-ACF6-98C3F4E53963}"/>
              </a:ext>
            </a:extLst>
          </p:cNvPr>
          <p:cNvCxnSpPr>
            <a:cxnSpLocks/>
          </p:cNvCxnSpPr>
          <p:nvPr/>
        </p:nvCxnSpPr>
        <p:spPr>
          <a:xfrm flipH="1">
            <a:off x="2672862" y="2099182"/>
            <a:ext cx="2403230" cy="2053718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281771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418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E9CC81-A8F4-4439-A4CA-3ADB2CF4B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  <a:endParaRPr lang="nl-BE" dirty="0"/>
          </a:p>
        </p:txBody>
      </p:sp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ABD504F5-71D8-476F-9098-E5AC7664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3764" y="-4401432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1A0F28DB-B120-4149-A9BF-B5891541B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1909" y="-3502555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raphic 22">
            <a:extLst>
              <a:ext uri="{FF2B5EF4-FFF2-40B4-BE49-F238E27FC236}">
                <a16:creationId xmlns:a16="http://schemas.microsoft.com/office/drawing/2014/main" id="{D5894BAA-8AB2-65D9-1B7A-7DB41CB0FDDB}"/>
              </a:ext>
            </a:extLst>
          </p:cNvPr>
          <p:cNvSpPr/>
          <p:nvPr/>
        </p:nvSpPr>
        <p:spPr>
          <a:xfrm>
            <a:off x="2401908" y="-2558955"/>
            <a:ext cx="1192477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A89FB90-D1F7-49D7-932B-7A915FE0122D}"/>
              </a:ext>
            </a:extLst>
          </p:cNvPr>
          <p:cNvSpPr txBox="1"/>
          <p:nvPr/>
        </p:nvSpPr>
        <p:spPr>
          <a:xfrm>
            <a:off x="1910130" y="2294509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oen Verbeec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2E475E7-96DF-4E92-BDAA-A0A65DA568CE}"/>
              </a:ext>
            </a:extLst>
          </p:cNvPr>
          <p:cNvSpPr txBox="1"/>
          <p:nvPr/>
        </p:nvSpPr>
        <p:spPr>
          <a:xfrm>
            <a:off x="1910130" y="3148502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@Ko_V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C574BF-8FBF-4BF2-976A-76C4D9FB4ED1}"/>
              </a:ext>
            </a:extLst>
          </p:cNvPr>
          <p:cNvSpPr txBox="1"/>
          <p:nvPr/>
        </p:nvSpPr>
        <p:spPr>
          <a:xfrm>
            <a:off x="1910130" y="4856489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QLkover.com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C335CD5-3FD7-F97A-67F8-48E48E5D262D}"/>
              </a:ext>
            </a:extLst>
          </p:cNvPr>
          <p:cNvSpPr txBox="1"/>
          <p:nvPr/>
        </p:nvSpPr>
        <p:spPr>
          <a:xfrm>
            <a:off x="1910130" y="4002495"/>
            <a:ext cx="2072947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@koenv.bsky.social</a:t>
            </a:r>
            <a:endParaRPr kumimoji="0" lang="en-CA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D16D830-E522-4C0C-E78D-8F34E7373740}"/>
              </a:ext>
            </a:extLst>
          </p:cNvPr>
          <p:cNvGrpSpPr/>
          <p:nvPr/>
        </p:nvGrpSpPr>
        <p:grpSpPr>
          <a:xfrm>
            <a:off x="994023" y="3042655"/>
            <a:ext cx="670848" cy="671487"/>
            <a:chOff x="-3669270" y="3958097"/>
            <a:chExt cx="2773132" cy="2772242"/>
          </a:xfrm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CDBAAF9-C70C-DDDD-6ECA-5D5595B99B11}"/>
                </a:ext>
              </a:extLst>
            </p:cNvPr>
            <p:cNvSpPr/>
            <p:nvPr/>
          </p:nvSpPr>
          <p:spPr>
            <a:xfrm>
              <a:off x="-3003850" y="4734985"/>
              <a:ext cx="1441962" cy="1221436"/>
            </a:xfrm>
            <a:custGeom>
              <a:avLst/>
              <a:gdLst>
                <a:gd name="connsiteX0" fmla="*/ 1220046 w 1441962"/>
                <a:gd name="connsiteY0" fmla="*/ 111220 h 1221436"/>
                <a:gd name="connsiteX1" fmla="*/ 1220046 w 1441962"/>
                <a:gd name="connsiteY1" fmla="*/ 0 h 1221436"/>
                <a:gd name="connsiteX2" fmla="*/ 1109253 w 1441962"/>
                <a:gd name="connsiteY2" fmla="*/ 0 h 1221436"/>
                <a:gd name="connsiteX3" fmla="*/ 998459 w 1441962"/>
                <a:gd name="connsiteY3" fmla="*/ 0 h 1221436"/>
                <a:gd name="connsiteX4" fmla="*/ 887336 w 1441962"/>
                <a:gd name="connsiteY4" fmla="*/ 0 h 1221436"/>
                <a:gd name="connsiteX5" fmla="*/ 887336 w 1441962"/>
                <a:gd name="connsiteY5" fmla="*/ 111220 h 1221436"/>
                <a:gd name="connsiteX6" fmla="*/ 776543 w 1441962"/>
                <a:gd name="connsiteY6" fmla="*/ 111220 h 1221436"/>
                <a:gd name="connsiteX7" fmla="*/ 776543 w 1441962"/>
                <a:gd name="connsiteY7" fmla="*/ 222109 h 1221436"/>
                <a:gd name="connsiteX8" fmla="*/ 776543 w 1441962"/>
                <a:gd name="connsiteY8" fmla="*/ 333329 h 1221436"/>
                <a:gd name="connsiteX9" fmla="*/ 665750 w 1441962"/>
                <a:gd name="connsiteY9" fmla="*/ 333329 h 1221436"/>
                <a:gd name="connsiteX10" fmla="*/ 665750 w 1441962"/>
                <a:gd name="connsiteY10" fmla="*/ 444219 h 1221436"/>
                <a:gd name="connsiteX11" fmla="*/ 554626 w 1441962"/>
                <a:gd name="connsiteY11" fmla="*/ 444219 h 1221436"/>
                <a:gd name="connsiteX12" fmla="*/ 443833 w 1441962"/>
                <a:gd name="connsiteY12" fmla="*/ 444219 h 1221436"/>
                <a:gd name="connsiteX13" fmla="*/ 443833 w 1441962"/>
                <a:gd name="connsiteY13" fmla="*/ 333329 h 1221436"/>
                <a:gd name="connsiteX14" fmla="*/ 332710 w 1441962"/>
                <a:gd name="connsiteY14" fmla="*/ 333329 h 1221436"/>
                <a:gd name="connsiteX15" fmla="*/ 332710 w 1441962"/>
                <a:gd name="connsiteY15" fmla="*/ 222109 h 1221436"/>
                <a:gd name="connsiteX16" fmla="*/ 221917 w 1441962"/>
                <a:gd name="connsiteY16" fmla="*/ 222109 h 1221436"/>
                <a:gd name="connsiteX17" fmla="*/ 221917 w 1441962"/>
                <a:gd name="connsiteY17" fmla="*/ 111220 h 1221436"/>
                <a:gd name="connsiteX18" fmla="*/ 111123 w 1441962"/>
                <a:gd name="connsiteY18" fmla="*/ 111220 h 1221436"/>
                <a:gd name="connsiteX19" fmla="*/ 111123 w 1441962"/>
                <a:gd name="connsiteY19" fmla="*/ 0 h 1221436"/>
                <a:gd name="connsiteX20" fmla="*/ 0 w 1441962"/>
                <a:gd name="connsiteY20" fmla="*/ 0 h 1221436"/>
                <a:gd name="connsiteX21" fmla="*/ 0 w 1441962"/>
                <a:gd name="connsiteY21" fmla="*/ 111220 h 1221436"/>
                <a:gd name="connsiteX22" fmla="*/ 0 w 1441962"/>
                <a:gd name="connsiteY22" fmla="*/ 222109 h 1221436"/>
                <a:gd name="connsiteX23" fmla="*/ 0 w 1441962"/>
                <a:gd name="connsiteY23" fmla="*/ 333329 h 1221436"/>
                <a:gd name="connsiteX24" fmla="*/ 111123 w 1441962"/>
                <a:gd name="connsiteY24" fmla="*/ 333329 h 1221436"/>
                <a:gd name="connsiteX25" fmla="*/ 111123 w 1441962"/>
                <a:gd name="connsiteY25" fmla="*/ 444219 h 1221436"/>
                <a:gd name="connsiteX26" fmla="*/ 0 w 1441962"/>
                <a:gd name="connsiteY26" fmla="*/ 444219 h 1221436"/>
                <a:gd name="connsiteX27" fmla="*/ 0 w 1441962"/>
                <a:gd name="connsiteY27" fmla="*/ 555108 h 1221436"/>
                <a:gd name="connsiteX28" fmla="*/ 111123 w 1441962"/>
                <a:gd name="connsiteY28" fmla="*/ 555108 h 1221436"/>
                <a:gd name="connsiteX29" fmla="*/ 111123 w 1441962"/>
                <a:gd name="connsiteY29" fmla="*/ 666328 h 1221436"/>
                <a:gd name="connsiteX30" fmla="*/ 221917 w 1441962"/>
                <a:gd name="connsiteY30" fmla="*/ 666328 h 1221436"/>
                <a:gd name="connsiteX31" fmla="*/ 221917 w 1441962"/>
                <a:gd name="connsiteY31" fmla="*/ 777218 h 1221436"/>
                <a:gd name="connsiteX32" fmla="*/ 111123 w 1441962"/>
                <a:gd name="connsiteY32" fmla="*/ 777218 h 1221436"/>
                <a:gd name="connsiteX33" fmla="*/ 111123 w 1441962"/>
                <a:gd name="connsiteY33" fmla="*/ 888108 h 1221436"/>
                <a:gd name="connsiteX34" fmla="*/ 221917 w 1441962"/>
                <a:gd name="connsiteY34" fmla="*/ 888108 h 1221436"/>
                <a:gd name="connsiteX35" fmla="*/ 332710 w 1441962"/>
                <a:gd name="connsiteY35" fmla="*/ 888108 h 1221436"/>
                <a:gd name="connsiteX36" fmla="*/ 332710 w 1441962"/>
                <a:gd name="connsiteY36" fmla="*/ 999327 h 1221436"/>
                <a:gd name="connsiteX37" fmla="*/ 332710 w 1441962"/>
                <a:gd name="connsiteY37" fmla="*/ 1110217 h 1221436"/>
                <a:gd name="connsiteX38" fmla="*/ 221917 w 1441962"/>
                <a:gd name="connsiteY38" fmla="*/ 1110217 h 1221436"/>
                <a:gd name="connsiteX39" fmla="*/ 111123 w 1441962"/>
                <a:gd name="connsiteY39" fmla="*/ 1110217 h 1221436"/>
                <a:gd name="connsiteX40" fmla="*/ 111123 w 1441962"/>
                <a:gd name="connsiteY40" fmla="*/ 1221437 h 1221436"/>
                <a:gd name="connsiteX41" fmla="*/ 221917 w 1441962"/>
                <a:gd name="connsiteY41" fmla="*/ 1221437 h 1221436"/>
                <a:gd name="connsiteX42" fmla="*/ 332710 w 1441962"/>
                <a:gd name="connsiteY42" fmla="*/ 1221437 h 1221436"/>
                <a:gd name="connsiteX43" fmla="*/ 443833 w 1441962"/>
                <a:gd name="connsiteY43" fmla="*/ 1221437 h 1221436"/>
                <a:gd name="connsiteX44" fmla="*/ 554626 w 1441962"/>
                <a:gd name="connsiteY44" fmla="*/ 1221437 h 1221436"/>
                <a:gd name="connsiteX45" fmla="*/ 665750 w 1441962"/>
                <a:gd name="connsiteY45" fmla="*/ 1221437 h 1221436"/>
                <a:gd name="connsiteX46" fmla="*/ 776543 w 1441962"/>
                <a:gd name="connsiteY46" fmla="*/ 1221437 h 1221436"/>
                <a:gd name="connsiteX47" fmla="*/ 887336 w 1441962"/>
                <a:gd name="connsiteY47" fmla="*/ 1221437 h 1221436"/>
                <a:gd name="connsiteX48" fmla="*/ 887336 w 1441962"/>
                <a:gd name="connsiteY48" fmla="*/ 1110217 h 1221436"/>
                <a:gd name="connsiteX49" fmla="*/ 998459 w 1441962"/>
                <a:gd name="connsiteY49" fmla="*/ 1110217 h 1221436"/>
                <a:gd name="connsiteX50" fmla="*/ 998459 w 1441962"/>
                <a:gd name="connsiteY50" fmla="*/ 999327 h 1221436"/>
                <a:gd name="connsiteX51" fmla="*/ 1109253 w 1441962"/>
                <a:gd name="connsiteY51" fmla="*/ 999327 h 1221436"/>
                <a:gd name="connsiteX52" fmla="*/ 1109253 w 1441962"/>
                <a:gd name="connsiteY52" fmla="*/ 888108 h 1221436"/>
                <a:gd name="connsiteX53" fmla="*/ 1220046 w 1441962"/>
                <a:gd name="connsiteY53" fmla="*/ 888108 h 1221436"/>
                <a:gd name="connsiteX54" fmla="*/ 1220046 w 1441962"/>
                <a:gd name="connsiteY54" fmla="*/ 777218 h 1221436"/>
                <a:gd name="connsiteX55" fmla="*/ 1220046 w 1441962"/>
                <a:gd name="connsiteY55" fmla="*/ 666328 h 1221436"/>
                <a:gd name="connsiteX56" fmla="*/ 1331169 w 1441962"/>
                <a:gd name="connsiteY56" fmla="*/ 666328 h 1221436"/>
                <a:gd name="connsiteX57" fmla="*/ 1331169 w 1441962"/>
                <a:gd name="connsiteY57" fmla="*/ 555108 h 1221436"/>
                <a:gd name="connsiteX58" fmla="*/ 1331169 w 1441962"/>
                <a:gd name="connsiteY58" fmla="*/ 444219 h 1221436"/>
                <a:gd name="connsiteX59" fmla="*/ 1220046 w 1441962"/>
                <a:gd name="connsiteY59" fmla="*/ 444219 h 1221436"/>
                <a:gd name="connsiteX60" fmla="*/ 1220046 w 1441962"/>
                <a:gd name="connsiteY60" fmla="*/ 333329 h 1221436"/>
                <a:gd name="connsiteX61" fmla="*/ 1331169 w 1441962"/>
                <a:gd name="connsiteY61" fmla="*/ 333329 h 1221436"/>
                <a:gd name="connsiteX62" fmla="*/ 1331169 w 1441962"/>
                <a:gd name="connsiteY62" fmla="*/ 222109 h 1221436"/>
                <a:gd name="connsiteX63" fmla="*/ 1441963 w 1441962"/>
                <a:gd name="connsiteY63" fmla="*/ 222109 h 1221436"/>
                <a:gd name="connsiteX64" fmla="*/ 1441963 w 1441962"/>
                <a:gd name="connsiteY64" fmla="*/ 111220 h 1221436"/>
                <a:gd name="connsiteX65" fmla="*/ 1331169 w 1441962"/>
                <a:gd name="connsiteY65" fmla="*/ 111220 h 122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1441962" h="1221436">
                  <a:moveTo>
                    <a:pt x="1220046" y="111220"/>
                  </a:move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336" y="0"/>
                  </a:lnTo>
                  <a:lnTo>
                    <a:pt x="887336" y="111220"/>
                  </a:lnTo>
                  <a:lnTo>
                    <a:pt x="776543" y="111220"/>
                  </a:lnTo>
                  <a:lnTo>
                    <a:pt x="776543" y="222109"/>
                  </a:lnTo>
                  <a:lnTo>
                    <a:pt x="776543" y="333329"/>
                  </a:lnTo>
                  <a:lnTo>
                    <a:pt x="665750" y="333329"/>
                  </a:lnTo>
                  <a:lnTo>
                    <a:pt x="665750" y="444219"/>
                  </a:lnTo>
                  <a:lnTo>
                    <a:pt x="554626" y="444219"/>
                  </a:lnTo>
                  <a:lnTo>
                    <a:pt x="443833" y="444219"/>
                  </a:lnTo>
                  <a:lnTo>
                    <a:pt x="443833" y="333329"/>
                  </a:lnTo>
                  <a:lnTo>
                    <a:pt x="332710" y="333329"/>
                  </a:lnTo>
                  <a:lnTo>
                    <a:pt x="332710" y="222109"/>
                  </a:lnTo>
                  <a:lnTo>
                    <a:pt x="221917" y="222109"/>
                  </a:lnTo>
                  <a:lnTo>
                    <a:pt x="221917" y="111220"/>
                  </a:lnTo>
                  <a:lnTo>
                    <a:pt x="111123" y="11122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3329"/>
                  </a:lnTo>
                  <a:lnTo>
                    <a:pt x="111123" y="333329"/>
                  </a:lnTo>
                  <a:lnTo>
                    <a:pt x="111123" y="444219"/>
                  </a:lnTo>
                  <a:lnTo>
                    <a:pt x="0" y="444219"/>
                  </a:lnTo>
                  <a:lnTo>
                    <a:pt x="0" y="555108"/>
                  </a:lnTo>
                  <a:lnTo>
                    <a:pt x="111123" y="555108"/>
                  </a:lnTo>
                  <a:lnTo>
                    <a:pt x="111123" y="666328"/>
                  </a:lnTo>
                  <a:lnTo>
                    <a:pt x="221917" y="666328"/>
                  </a:lnTo>
                  <a:lnTo>
                    <a:pt x="221917" y="777218"/>
                  </a:lnTo>
                  <a:lnTo>
                    <a:pt x="111123" y="777218"/>
                  </a:lnTo>
                  <a:lnTo>
                    <a:pt x="111123" y="888108"/>
                  </a:lnTo>
                  <a:lnTo>
                    <a:pt x="221917" y="888108"/>
                  </a:lnTo>
                  <a:lnTo>
                    <a:pt x="332710" y="888108"/>
                  </a:lnTo>
                  <a:lnTo>
                    <a:pt x="332710" y="999327"/>
                  </a:lnTo>
                  <a:lnTo>
                    <a:pt x="332710" y="1110217"/>
                  </a:lnTo>
                  <a:lnTo>
                    <a:pt x="221917" y="1110217"/>
                  </a:lnTo>
                  <a:lnTo>
                    <a:pt x="111123" y="1110217"/>
                  </a:lnTo>
                  <a:lnTo>
                    <a:pt x="111123" y="1221437"/>
                  </a:lnTo>
                  <a:lnTo>
                    <a:pt x="221917" y="1221437"/>
                  </a:lnTo>
                  <a:lnTo>
                    <a:pt x="332710" y="1221437"/>
                  </a:lnTo>
                  <a:lnTo>
                    <a:pt x="443833" y="1221437"/>
                  </a:lnTo>
                  <a:lnTo>
                    <a:pt x="554626" y="1221437"/>
                  </a:lnTo>
                  <a:lnTo>
                    <a:pt x="665750" y="1221437"/>
                  </a:lnTo>
                  <a:lnTo>
                    <a:pt x="776543" y="1221437"/>
                  </a:lnTo>
                  <a:lnTo>
                    <a:pt x="887336" y="1221437"/>
                  </a:lnTo>
                  <a:lnTo>
                    <a:pt x="887336" y="1110217"/>
                  </a:lnTo>
                  <a:lnTo>
                    <a:pt x="998459" y="1110217"/>
                  </a:lnTo>
                  <a:lnTo>
                    <a:pt x="998459" y="999327"/>
                  </a:lnTo>
                  <a:lnTo>
                    <a:pt x="1109253" y="999327"/>
                  </a:lnTo>
                  <a:lnTo>
                    <a:pt x="1109253" y="888108"/>
                  </a:lnTo>
                  <a:lnTo>
                    <a:pt x="1220046" y="888108"/>
                  </a:lnTo>
                  <a:lnTo>
                    <a:pt x="1220046" y="777218"/>
                  </a:lnTo>
                  <a:lnTo>
                    <a:pt x="1220046" y="666328"/>
                  </a:lnTo>
                  <a:lnTo>
                    <a:pt x="1331169" y="666328"/>
                  </a:lnTo>
                  <a:lnTo>
                    <a:pt x="1331169" y="555108"/>
                  </a:lnTo>
                  <a:lnTo>
                    <a:pt x="1331169" y="444219"/>
                  </a:lnTo>
                  <a:lnTo>
                    <a:pt x="1220046" y="444219"/>
                  </a:lnTo>
                  <a:lnTo>
                    <a:pt x="1220046" y="333329"/>
                  </a:lnTo>
                  <a:lnTo>
                    <a:pt x="1331169" y="333329"/>
                  </a:lnTo>
                  <a:lnTo>
                    <a:pt x="1331169" y="222109"/>
                  </a:lnTo>
                  <a:lnTo>
                    <a:pt x="1441963" y="222109"/>
                  </a:lnTo>
                  <a:lnTo>
                    <a:pt x="1441963" y="111220"/>
                  </a:lnTo>
                  <a:lnTo>
                    <a:pt x="1331169" y="111220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7F1FA93-F350-028B-DCDE-7ABE8EE808D5}"/>
                </a:ext>
              </a:extLst>
            </p:cNvPr>
            <p:cNvSpPr/>
            <p:nvPr/>
          </p:nvSpPr>
          <p:spPr>
            <a:xfrm>
              <a:off x="-3669270" y="3958097"/>
              <a:ext cx="2773132" cy="2772242"/>
            </a:xfrm>
            <a:custGeom>
              <a:avLst/>
              <a:gdLst>
                <a:gd name="connsiteX0" fmla="*/ 2662009 w 2773132"/>
                <a:gd name="connsiteY0" fmla="*/ 221779 h 2772242"/>
                <a:gd name="connsiteX1" fmla="*/ 2551216 w 2773132"/>
                <a:gd name="connsiteY1" fmla="*/ 221779 h 2772242"/>
                <a:gd name="connsiteX2" fmla="*/ 2551216 w 2773132"/>
                <a:gd name="connsiteY2" fmla="*/ 110890 h 2772242"/>
                <a:gd name="connsiteX3" fmla="*/ 2440092 w 2773132"/>
                <a:gd name="connsiteY3" fmla="*/ 110890 h 2772242"/>
                <a:gd name="connsiteX4" fmla="*/ 2440092 w 2773132"/>
                <a:gd name="connsiteY4" fmla="*/ 0 h 2772242"/>
                <a:gd name="connsiteX5" fmla="*/ 2329299 w 2773132"/>
                <a:gd name="connsiteY5" fmla="*/ 0 h 2772242"/>
                <a:gd name="connsiteX6" fmla="*/ 2218506 w 2773132"/>
                <a:gd name="connsiteY6" fmla="*/ 0 h 2772242"/>
                <a:gd name="connsiteX7" fmla="*/ 2107712 w 2773132"/>
                <a:gd name="connsiteY7" fmla="*/ 0 h 2772242"/>
                <a:gd name="connsiteX8" fmla="*/ 1996919 w 2773132"/>
                <a:gd name="connsiteY8" fmla="*/ 0 h 2772242"/>
                <a:gd name="connsiteX9" fmla="*/ 1886126 w 2773132"/>
                <a:gd name="connsiteY9" fmla="*/ 0 h 2772242"/>
                <a:gd name="connsiteX10" fmla="*/ 1775332 w 2773132"/>
                <a:gd name="connsiteY10" fmla="*/ 0 h 2772242"/>
                <a:gd name="connsiteX11" fmla="*/ 1664539 w 2773132"/>
                <a:gd name="connsiteY11" fmla="*/ 0 h 2772242"/>
                <a:gd name="connsiteX12" fmla="*/ 1553745 w 2773132"/>
                <a:gd name="connsiteY12" fmla="*/ 0 h 2772242"/>
                <a:gd name="connsiteX13" fmla="*/ 1442952 w 2773132"/>
                <a:gd name="connsiteY13" fmla="*/ 0 h 2772242"/>
                <a:gd name="connsiteX14" fmla="*/ 1332159 w 2773132"/>
                <a:gd name="connsiteY14" fmla="*/ 0 h 2772242"/>
                <a:gd name="connsiteX15" fmla="*/ 1220046 w 2773132"/>
                <a:gd name="connsiteY15" fmla="*/ 0 h 2772242"/>
                <a:gd name="connsiteX16" fmla="*/ 1109253 w 2773132"/>
                <a:gd name="connsiteY16" fmla="*/ 0 h 2772242"/>
                <a:gd name="connsiteX17" fmla="*/ 998459 w 2773132"/>
                <a:gd name="connsiteY17" fmla="*/ 0 h 2772242"/>
                <a:gd name="connsiteX18" fmla="*/ 887666 w 2773132"/>
                <a:gd name="connsiteY18" fmla="*/ 0 h 2772242"/>
                <a:gd name="connsiteX19" fmla="*/ 776873 w 2773132"/>
                <a:gd name="connsiteY19" fmla="*/ 0 h 2772242"/>
                <a:gd name="connsiteX20" fmla="*/ 666079 w 2773132"/>
                <a:gd name="connsiteY20" fmla="*/ 0 h 2772242"/>
                <a:gd name="connsiteX21" fmla="*/ 555286 w 2773132"/>
                <a:gd name="connsiteY21" fmla="*/ 0 h 2772242"/>
                <a:gd name="connsiteX22" fmla="*/ 444493 w 2773132"/>
                <a:gd name="connsiteY22" fmla="*/ 0 h 2772242"/>
                <a:gd name="connsiteX23" fmla="*/ 333699 w 2773132"/>
                <a:gd name="connsiteY23" fmla="*/ 0 h 2772242"/>
                <a:gd name="connsiteX24" fmla="*/ 333699 w 2773132"/>
                <a:gd name="connsiteY24" fmla="*/ 110890 h 2772242"/>
                <a:gd name="connsiteX25" fmla="*/ 221917 w 2773132"/>
                <a:gd name="connsiteY25" fmla="*/ 110890 h 2772242"/>
                <a:gd name="connsiteX26" fmla="*/ 221917 w 2773132"/>
                <a:gd name="connsiteY26" fmla="*/ 221779 h 2772242"/>
                <a:gd name="connsiteX27" fmla="*/ 110793 w 2773132"/>
                <a:gd name="connsiteY27" fmla="*/ 221779 h 2772242"/>
                <a:gd name="connsiteX28" fmla="*/ 110793 w 2773132"/>
                <a:gd name="connsiteY28" fmla="*/ 332669 h 2772242"/>
                <a:gd name="connsiteX29" fmla="*/ 0 w 2773132"/>
                <a:gd name="connsiteY29" fmla="*/ 332669 h 2772242"/>
                <a:gd name="connsiteX30" fmla="*/ 0 w 2773132"/>
                <a:gd name="connsiteY30" fmla="*/ 443559 h 2772242"/>
                <a:gd name="connsiteX31" fmla="*/ 0 w 2773132"/>
                <a:gd name="connsiteY31" fmla="*/ 554449 h 2772242"/>
                <a:gd name="connsiteX32" fmla="*/ 0 w 2773132"/>
                <a:gd name="connsiteY32" fmla="*/ 665338 h 2772242"/>
                <a:gd name="connsiteX33" fmla="*/ 0 w 2773132"/>
                <a:gd name="connsiteY33" fmla="*/ 776228 h 2772242"/>
                <a:gd name="connsiteX34" fmla="*/ 0 w 2773132"/>
                <a:gd name="connsiteY34" fmla="*/ 887118 h 2772242"/>
                <a:gd name="connsiteX35" fmla="*/ 0 w 2773132"/>
                <a:gd name="connsiteY35" fmla="*/ 998007 h 2772242"/>
                <a:gd name="connsiteX36" fmla="*/ 0 w 2773132"/>
                <a:gd name="connsiteY36" fmla="*/ 1108897 h 2772242"/>
                <a:gd name="connsiteX37" fmla="*/ 0 w 2773132"/>
                <a:gd name="connsiteY37" fmla="*/ 1219787 h 2772242"/>
                <a:gd name="connsiteX38" fmla="*/ 0 w 2773132"/>
                <a:gd name="connsiteY38" fmla="*/ 1330676 h 2772242"/>
                <a:gd name="connsiteX39" fmla="*/ 0 w 2773132"/>
                <a:gd name="connsiteY39" fmla="*/ 1441566 h 2772242"/>
                <a:gd name="connsiteX40" fmla="*/ 0 w 2773132"/>
                <a:gd name="connsiteY40" fmla="*/ 1552456 h 2772242"/>
                <a:gd name="connsiteX41" fmla="*/ 0 w 2773132"/>
                <a:gd name="connsiteY41" fmla="*/ 1663346 h 2772242"/>
                <a:gd name="connsiteX42" fmla="*/ 0 w 2773132"/>
                <a:gd name="connsiteY42" fmla="*/ 1774235 h 2772242"/>
                <a:gd name="connsiteX43" fmla="*/ 0 w 2773132"/>
                <a:gd name="connsiteY43" fmla="*/ 1885125 h 2772242"/>
                <a:gd name="connsiteX44" fmla="*/ 0 w 2773132"/>
                <a:gd name="connsiteY44" fmla="*/ 1996015 h 2772242"/>
                <a:gd name="connsiteX45" fmla="*/ 0 w 2773132"/>
                <a:gd name="connsiteY45" fmla="*/ 2106905 h 2772242"/>
                <a:gd name="connsiteX46" fmla="*/ 0 w 2773132"/>
                <a:gd name="connsiteY46" fmla="*/ 2217794 h 2772242"/>
                <a:gd name="connsiteX47" fmla="*/ 0 w 2773132"/>
                <a:gd name="connsiteY47" fmla="*/ 2328684 h 2772242"/>
                <a:gd name="connsiteX48" fmla="*/ 0 w 2773132"/>
                <a:gd name="connsiteY48" fmla="*/ 2439573 h 2772242"/>
                <a:gd name="connsiteX49" fmla="*/ 110793 w 2773132"/>
                <a:gd name="connsiteY49" fmla="*/ 2439573 h 2772242"/>
                <a:gd name="connsiteX50" fmla="*/ 110793 w 2773132"/>
                <a:gd name="connsiteY50" fmla="*/ 2550463 h 2772242"/>
                <a:gd name="connsiteX51" fmla="*/ 221587 w 2773132"/>
                <a:gd name="connsiteY51" fmla="*/ 2550463 h 2772242"/>
                <a:gd name="connsiteX52" fmla="*/ 221587 w 2773132"/>
                <a:gd name="connsiteY52" fmla="*/ 2661353 h 2772242"/>
                <a:gd name="connsiteX53" fmla="*/ 332380 w 2773132"/>
                <a:gd name="connsiteY53" fmla="*/ 2661353 h 2772242"/>
                <a:gd name="connsiteX54" fmla="*/ 332380 w 2773132"/>
                <a:gd name="connsiteY54" fmla="*/ 2772243 h 2772242"/>
                <a:gd name="connsiteX55" fmla="*/ 443174 w 2773132"/>
                <a:gd name="connsiteY55" fmla="*/ 2772243 h 2772242"/>
                <a:gd name="connsiteX56" fmla="*/ 553967 w 2773132"/>
                <a:gd name="connsiteY56" fmla="*/ 2772243 h 2772242"/>
                <a:gd name="connsiteX57" fmla="*/ 664760 w 2773132"/>
                <a:gd name="connsiteY57" fmla="*/ 2772243 h 2772242"/>
                <a:gd name="connsiteX58" fmla="*/ 775554 w 2773132"/>
                <a:gd name="connsiteY58" fmla="*/ 2772243 h 2772242"/>
                <a:gd name="connsiteX59" fmla="*/ 886347 w 2773132"/>
                <a:gd name="connsiteY59" fmla="*/ 2772243 h 2772242"/>
                <a:gd name="connsiteX60" fmla="*/ 997140 w 2773132"/>
                <a:gd name="connsiteY60" fmla="*/ 2772243 h 2772242"/>
                <a:gd name="connsiteX61" fmla="*/ 1107934 w 2773132"/>
                <a:gd name="connsiteY61" fmla="*/ 2772243 h 2772242"/>
                <a:gd name="connsiteX62" fmla="*/ 1220046 w 2773132"/>
                <a:gd name="connsiteY62" fmla="*/ 2772243 h 2772242"/>
                <a:gd name="connsiteX63" fmla="*/ 1330840 w 2773132"/>
                <a:gd name="connsiteY63" fmla="*/ 2772243 h 2772242"/>
                <a:gd name="connsiteX64" fmla="*/ 1441633 w 2773132"/>
                <a:gd name="connsiteY64" fmla="*/ 2772243 h 2772242"/>
                <a:gd name="connsiteX65" fmla="*/ 1552426 w 2773132"/>
                <a:gd name="connsiteY65" fmla="*/ 2772243 h 2772242"/>
                <a:gd name="connsiteX66" fmla="*/ 1663220 w 2773132"/>
                <a:gd name="connsiteY66" fmla="*/ 2772243 h 2772242"/>
                <a:gd name="connsiteX67" fmla="*/ 1774013 w 2773132"/>
                <a:gd name="connsiteY67" fmla="*/ 2772243 h 2772242"/>
                <a:gd name="connsiteX68" fmla="*/ 1884806 w 2773132"/>
                <a:gd name="connsiteY68" fmla="*/ 2772243 h 2772242"/>
                <a:gd name="connsiteX69" fmla="*/ 1995600 w 2773132"/>
                <a:gd name="connsiteY69" fmla="*/ 2772243 h 2772242"/>
                <a:gd name="connsiteX70" fmla="*/ 2106393 w 2773132"/>
                <a:gd name="connsiteY70" fmla="*/ 2772243 h 2772242"/>
                <a:gd name="connsiteX71" fmla="*/ 2217187 w 2773132"/>
                <a:gd name="connsiteY71" fmla="*/ 2772243 h 2772242"/>
                <a:gd name="connsiteX72" fmla="*/ 2327980 w 2773132"/>
                <a:gd name="connsiteY72" fmla="*/ 2772243 h 2772242"/>
                <a:gd name="connsiteX73" fmla="*/ 2440092 w 2773132"/>
                <a:gd name="connsiteY73" fmla="*/ 2772243 h 2772242"/>
                <a:gd name="connsiteX74" fmla="*/ 2440092 w 2773132"/>
                <a:gd name="connsiteY74" fmla="*/ 2661353 h 2772242"/>
                <a:gd name="connsiteX75" fmla="*/ 2550886 w 2773132"/>
                <a:gd name="connsiteY75" fmla="*/ 2661353 h 2772242"/>
                <a:gd name="connsiteX76" fmla="*/ 2550886 w 2773132"/>
                <a:gd name="connsiteY76" fmla="*/ 2550463 h 2772242"/>
                <a:gd name="connsiteX77" fmla="*/ 2661679 w 2773132"/>
                <a:gd name="connsiteY77" fmla="*/ 2550463 h 2772242"/>
                <a:gd name="connsiteX78" fmla="*/ 2661679 w 2773132"/>
                <a:gd name="connsiteY78" fmla="*/ 2439573 h 2772242"/>
                <a:gd name="connsiteX79" fmla="*/ 2773132 w 2773132"/>
                <a:gd name="connsiteY79" fmla="*/ 2439573 h 2772242"/>
                <a:gd name="connsiteX80" fmla="*/ 2773132 w 2773132"/>
                <a:gd name="connsiteY80" fmla="*/ 2328684 h 2772242"/>
                <a:gd name="connsiteX81" fmla="*/ 2773132 w 2773132"/>
                <a:gd name="connsiteY81" fmla="*/ 2217794 h 2772242"/>
                <a:gd name="connsiteX82" fmla="*/ 2773132 w 2773132"/>
                <a:gd name="connsiteY82" fmla="*/ 2106905 h 2772242"/>
                <a:gd name="connsiteX83" fmla="*/ 2773132 w 2773132"/>
                <a:gd name="connsiteY83" fmla="*/ 1998325 h 2772242"/>
                <a:gd name="connsiteX84" fmla="*/ 2773132 w 2773132"/>
                <a:gd name="connsiteY84" fmla="*/ 1887435 h 2772242"/>
                <a:gd name="connsiteX85" fmla="*/ 2773132 w 2773132"/>
                <a:gd name="connsiteY85" fmla="*/ 1776546 h 2772242"/>
                <a:gd name="connsiteX86" fmla="*/ 2773132 w 2773132"/>
                <a:gd name="connsiteY86" fmla="*/ 1664996 h 2772242"/>
                <a:gd name="connsiteX87" fmla="*/ 2773132 w 2773132"/>
                <a:gd name="connsiteY87" fmla="*/ 1554106 h 2772242"/>
                <a:gd name="connsiteX88" fmla="*/ 2773132 w 2773132"/>
                <a:gd name="connsiteY88" fmla="*/ 1443216 h 2772242"/>
                <a:gd name="connsiteX89" fmla="*/ 2773132 w 2773132"/>
                <a:gd name="connsiteY89" fmla="*/ 1332326 h 2772242"/>
                <a:gd name="connsiteX90" fmla="*/ 2773132 w 2773132"/>
                <a:gd name="connsiteY90" fmla="*/ 1221437 h 2772242"/>
                <a:gd name="connsiteX91" fmla="*/ 2773132 w 2773132"/>
                <a:gd name="connsiteY91" fmla="*/ 1110547 h 2772242"/>
                <a:gd name="connsiteX92" fmla="*/ 2773132 w 2773132"/>
                <a:gd name="connsiteY92" fmla="*/ 999658 h 2772242"/>
                <a:gd name="connsiteX93" fmla="*/ 2773132 w 2773132"/>
                <a:gd name="connsiteY93" fmla="*/ 888768 h 2772242"/>
                <a:gd name="connsiteX94" fmla="*/ 2773132 w 2773132"/>
                <a:gd name="connsiteY94" fmla="*/ 777878 h 2772242"/>
                <a:gd name="connsiteX95" fmla="*/ 2773132 w 2773132"/>
                <a:gd name="connsiteY95" fmla="*/ 666988 h 2772242"/>
                <a:gd name="connsiteX96" fmla="*/ 2773132 w 2773132"/>
                <a:gd name="connsiteY96" fmla="*/ 556099 h 2772242"/>
                <a:gd name="connsiteX97" fmla="*/ 2773132 w 2773132"/>
                <a:gd name="connsiteY97" fmla="*/ 443889 h 2772242"/>
                <a:gd name="connsiteX98" fmla="*/ 2773132 w 2773132"/>
                <a:gd name="connsiteY98" fmla="*/ 332999 h 2772242"/>
                <a:gd name="connsiteX99" fmla="*/ 2662339 w 2773132"/>
                <a:gd name="connsiteY99" fmla="*/ 332999 h 2772242"/>
                <a:gd name="connsiteX100" fmla="*/ 2662339 w 2773132"/>
                <a:gd name="connsiteY100" fmla="*/ 221779 h 2772242"/>
                <a:gd name="connsiteX101" fmla="*/ 776543 w 2773132"/>
                <a:gd name="connsiteY101" fmla="*/ 776888 h 2772242"/>
                <a:gd name="connsiteX102" fmla="*/ 776543 w 2773132"/>
                <a:gd name="connsiteY102" fmla="*/ 887778 h 2772242"/>
                <a:gd name="connsiteX103" fmla="*/ 887336 w 2773132"/>
                <a:gd name="connsiteY103" fmla="*/ 887778 h 2772242"/>
                <a:gd name="connsiteX104" fmla="*/ 887336 w 2773132"/>
                <a:gd name="connsiteY104" fmla="*/ 998667 h 2772242"/>
                <a:gd name="connsiteX105" fmla="*/ 998130 w 2773132"/>
                <a:gd name="connsiteY105" fmla="*/ 998667 h 2772242"/>
                <a:gd name="connsiteX106" fmla="*/ 998130 w 2773132"/>
                <a:gd name="connsiteY106" fmla="*/ 1109557 h 2772242"/>
                <a:gd name="connsiteX107" fmla="*/ 1108923 w 2773132"/>
                <a:gd name="connsiteY107" fmla="*/ 1109557 h 2772242"/>
                <a:gd name="connsiteX108" fmla="*/ 1108923 w 2773132"/>
                <a:gd name="connsiteY108" fmla="*/ 1220447 h 2772242"/>
                <a:gd name="connsiteX109" fmla="*/ 1220046 w 2773132"/>
                <a:gd name="connsiteY109" fmla="*/ 1220447 h 2772242"/>
                <a:gd name="connsiteX110" fmla="*/ 1330840 w 2773132"/>
                <a:gd name="connsiteY110" fmla="*/ 1220447 h 2772242"/>
                <a:gd name="connsiteX111" fmla="*/ 1330840 w 2773132"/>
                <a:gd name="connsiteY111" fmla="*/ 1109557 h 2772242"/>
                <a:gd name="connsiteX112" fmla="*/ 1441633 w 2773132"/>
                <a:gd name="connsiteY112" fmla="*/ 1109557 h 2772242"/>
                <a:gd name="connsiteX113" fmla="*/ 1441633 w 2773132"/>
                <a:gd name="connsiteY113" fmla="*/ 998667 h 2772242"/>
                <a:gd name="connsiteX114" fmla="*/ 1441633 w 2773132"/>
                <a:gd name="connsiteY114" fmla="*/ 887778 h 2772242"/>
                <a:gd name="connsiteX115" fmla="*/ 1552426 w 2773132"/>
                <a:gd name="connsiteY115" fmla="*/ 887778 h 2772242"/>
                <a:gd name="connsiteX116" fmla="*/ 1552426 w 2773132"/>
                <a:gd name="connsiteY116" fmla="*/ 776888 h 2772242"/>
                <a:gd name="connsiteX117" fmla="*/ 1663220 w 2773132"/>
                <a:gd name="connsiteY117" fmla="*/ 776888 h 2772242"/>
                <a:gd name="connsiteX118" fmla="*/ 1774013 w 2773132"/>
                <a:gd name="connsiteY118" fmla="*/ 776888 h 2772242"/>
                <a:gd name="connsiteX119" fmla="*/ 1884806 w 2773132"/>
                <a:gd name="connsiteY119" fmla="*/ 776888 h 2772242"/>
                <a:gd name="connsiteX120" fmla="*/ 1884806 w 2773132"/>
                <a:gd name="connsiteY120" fmla="*/ 887778 h 2772242"/>
                <a:gd name="connsiteX121" fmla="*/ 1995600 w 2773132"/>
                <a:gd name="connsiteY121" fmla="*/ 887778 h 2772242"/>
                <a:gd name="connsiteX122" fmla="*/ 2106393 w 2773132"/>
                <a:gd name="connsiteY122" fmla="*/ 887778 h 2772242"/>
                <a:gd name="connsiteX123" fmla="*/ 2106393 w 2773132"/>
                <a:gd name="connsiteY123" fmla="*/ 998667 h 2772242"/>
                <a:gd name="connsiteX124" fmla="*/ 1995600 w 2773132"/>
                <a:gd name="connsiteY124" fmla="*/ 998667 h 2772242"/>
                <a:gd name="connsiteX125" fmla="*/ 1995600 w 2773132"/>
                <a:gd name="connsiteY125" fmla="*/ 1109557 h 2772242"/>
                <a:gd name="connsiteX126" fmla="*/ 1884806 w 2773132"/>
                <a:gd name="connsiteY126" fmla="*/ 1109557 h 2772242"/>
                <a:gd name="connsiteX127" fmla="*/ 1884806 w 2773132"/>
                <a:gd name="connsiteY127" fmla="*/ 1220447 h 2772242"/>
                <a:gd name="connsiteX128" fmla="*/ 1995600 w 2773132"/>
                <a:gd name="connsiteY128" fmla="*/ 1220447 h 2772242"/>
                <a:gd name="connsiteX129" fmla="*/ 1995600 w 2773132"/>
                <a:gd name="connsiteY129" fmla="*/ 1331337 h 2772242"/>
                <a:gd name="connsiteX130" fmla="*/ 1995600 w 2773132"/>
                <a:gd name="connsiteY130" fmla="*/ 1442226 h 2772242"/>
                <a:gd name="connsiteX131" fmla="*/ 1884806 w 2773132"/>
                <a:gd name="connsiteY131" fmla="*/ 1442226 h 2772242"/>
                <a:gd name="connsiteX132" fmla="*/ 1884806 w 2773132"/>
                <a:gd name="connsiteY132" fmla="*/ 1553116 h 2772242"/>
                <a:gd name="connsiteX133" fmla="*/ 1884806 w 2773132"/>
                <a:gd name="connsiteY133" fmla="*/ 1664005 h 2772242"/>
                <a:gd name="connsiteX134" fmla="*/ 1774013 w 2773132"/>
                <a:gd name="connsiteY134" fmla="*/ 1664005 h 2772242"/>
                <a:gd name="connsiteX135" fmla="*/ 1774013 w 2773132"/>
                <a:gd name="connsiteY135" fmla="*/ 1774896 h 2772242"/>
                <a:gd name="connsiteX136" fmla="*/ 1663220 w 2773132"/>
                <a:gd name="connsiteY136" fmla="*/ 1774896 h 2772242"/>
                <a:gd name="connsiteX137" fmla="*/ 1663220 w 2773132"/>
                <a:gd name="connsiteY137" fmla="*/ 1885785 h 2772242"/>
                <a:gd name="connsiteX138" fmla="*/ 1552426 w 2773132"/>
                <a:gd name="connsiteY138" fmla="*/ 1885785 h 2772242"/>
                <a:gd name="connsiteX139" fmla="*/ 1552426 w 2773132"/>
                <a:gd name="connsiteY139" fmla="*/ 1996675 h 2772242"/>
                <a:gd name="connsiteX140" fmla="*/ 1441633 w 2773132"/>
                <a:gd name="connsiteY140" fmla="*/ 1996675 h 2772242"/>
                <a:gd name="connsiteX141" fmla="*/ 1330840 w 2773132"/>
                <a:gd name="connsiteY141" fmla="*/ 1996675 h 2772242"/>
                <a:gd name="connsiteX142" fmla="*/ 1220046 w 2773132"/>
                <a:gd name="connsiteY142" fmla="*/ 1996675 h 2772242"/>
                <a:gd name="connsiteX143" fmla="*/ 1109253 w 2773132"/>
                <a:gd name="connsiteY143" fmla="*/ 1996675 h 2772242"/>
                <a:gd name="connsiteX144" fmla="*/ 998459 w 2773132"/>
                <a:gd name="connsiteY144" fmla="*/ 1996675 h 2772242"/>
                <a:gd name="connsiteX145" fmla="*/ 887666 w 2773132"/>
                <a:gd name="connsiteY145" fmla="*/ 1996675 h 2772242"/>
                <a:gd name="connsiteX146" fmla="*/ 776873 w 2773132"/>
                <a:gd name="connsiteY146" fmla="*/ 1996675 h 2772242"/>
                <a:gd name="connsiteX147" fmla="*/ 776873 w 2773132"/>
                <a:gd name="connsiteY147" fmla="*/ 1885785 h 2772242"/>
                <a:gd name="connsiteX148" fmla="*/ 887666 w 2773132"/>
                <a:gd name="connsiteY148" fmla="*/ 1885785 h 2772242"/>
                <a:gd name="connsiteX149" fmla="*/ 998459 w 2773132"/>
                <a:gd name="connsiteY149" fmla="*/ 1885785 h 2772242"/>
                <a:gd name="connsiteX150" fmla="*/ 998459 w 2773132"/>
                <a:gd name="connsiteY150" fmla="*/ 1774896 h 2772242"/>
                <a:gd name="connsiteX151" fmla="*/ 998459 w 2773132"/>
                <a:gd name="connsiteY151" fmla="*/ 1664996 h 2772242"/>
                <a:gd name="connsiteX152" fmla="*/ 887666 w 2773132"/>
                <a:gd name="connsiteY152" fmla="*/ 1664996 h 2772242"/>
                <a:gd name="connsiteX153" fmla="*/ 776873 w 2773132"/>
                <a:gd name="connsiteY153" fmla="*/ 1664996 h 2772242"/>
                <a:gd name="connsiteX154" fmla="*/ 776873 w 2773132"/>
                <a:gd name="connsiteY154" fmla="*/ 1554106 h 2772242"/>
                <a:gd name="connsiteX155" fmla="*/ 887666 w 2773132"/>
                <a:gd name="connsiteY155" fmla="*/ 1554106 h 2772242"/>
                <a:gd name="connsiteX156" fmla="*/ 887666 w 2773132"/>
                <a:gd name="connsiteY156" fmla="*/ 1443216 h 2772242"/>
                <a:gd name="connsiteX157" fmla="*/ 776873 w 2773132"/>
                <a:gd name="connsiteY157" fmla="*/ 1443216 h 2772242"/>
                <a:gd name="connsiteX158" fmla="*/ 776873 w 2773132"/>
                <a:gd name="connsiteY158" fmla="*/ 1332326 h 2772242"/>
                <a:gd name="connsiteX159" fmla="*/ 666079 w 2773132"/>
                <a:gd name="connsiteY159" fmla="*/ 1332326 h 2772242"/>
                <a:gd name="connsiteX160" fmla="*/ 666079 w 2773132"/>
                <a:gd name="connsiteY160" fmla="*/ 1221437 h 2772242"/>
                <a:gd name="connsiteX161" fmla="*/ 776873 w 2773132"/>
                <a:gd name="connsiteY161" fmla="*/ 1221437 h 2772242"/>
                <a:gd name="connsiteX162" fmla="*/ 776873 w 2773132"/>
                <a:gd name="connsiteY162" fmla="*/ 1110547 h 2772242"/>
                <a:gd name="connsiteX163" fmla="*/ 666079 w 2773132"/>
                <a:gd name="connsiteY163" fmla="*/ 1110547 h 2772242"/>
                <a:gd name="connsiteX164" fmla="*/ 666079 w 2773132"/>
                <a:gd name="connsiteY164" fmla="*/ 999658 h 2772242"/>
                <a:gd name="connsiteX165" fmla="*/ 666079 w 2773132"/>
                <a:gd name="connsiteY165" fmla="*/ 888768 h 2772242"/>
                <a:gd name="connsiteX166" fmla="*/ 666079 w 2773132"/>
                <a:gd name="connsiteY166" fmla="*/ 777878 h 2772242"/>
                <a:gd name="connsiteX167" fmla="*/ 776543 w 2773132"/>
                <a:gd name="connsiteY167" fmla="*/ 777878 h 2772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2773132" h="2772242">
                  <a:moveTo>
                    <a:pt x="2662009" y="221779"/>
                  </a:moveTo>
                  <a:lnTo>
                    <a:pt x="2551216" y="221779"/>
                  </a:lnTo>
                  <a:lnTo>
                    <a:pt x="2551216" y="110890"/>
                  </a:lnTo>
                  <a:lnTo>
                    <a:pt x="2440092" y="110890"/>
                  </a:lnTo>
                  <a:lnTo>
                    <a:pt x="2440092" y="0"/>
                  </a:lnTo>
                  <a:lnTo>
                    <a:pt x="2329299" y="0"/>
                  </a:lnTo>
                  <a:lnTo>
                    <a:pt x="2218506" y="0"/>
                  </a:lnTo>
                  <a:lnTo>
                    <a:pt x="2107712" y="0"/>
                  </a:lnTo>
                  <a:lnTo>
                    <a:pt x="1996919" y="0"/>
                  </a:lnTo>
                  <a:lnTo>
                    <a:pt x="1886126" y="0"/>
                  </a:lnTo>
                  <a:lnTo>
                    <a:pt x="1775332" y="0"/>
                  </a:lnTo>
                  <a:lnTo>
                    <a:pt x="1664539" y="0"/>
                  </a:lnTo>
                  <a:lnTo>
                    <a:pt x="1553745" y="0"/>
                  </a:lnTo>
                  <a:lnTo>
                    <a:pt x="1442952" y="0"/>
                  </a:lnTo>
                  <a:lnTo>
                    <a:pt x="1332159" y="0"/>
                  </a:ln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666" y="0"/>
                  </a:lnTo>
                  <a:lnTo>
                    <a:pt x="776873" y="0"/>
                  </a:lnTo>
                  <a:lnTo>
                    <a:pt x="666079" y="0"/>
                  </a:lnTo>
                  <a:lnTo>
                    <a:pt x="555286" y="0"/>
                  </a:lnTo>
                  <a:lnTo>
                    <a:pt x="444493" y="0"/>
                  </a:lnTo>
                  <a:lnTo>
                    <a:pt x="333699" y="0"/>
                  </a:lnTo>
                  <a:lnTo>
                    <a:pt x="333699" y="110890"/>
                  </a:lnTo>
                  <a:lnTo>
                    <a:pt x="221917" y="110890"/>
                  </a:lnTo>
                  <a:lnTo>
                    <a:pt x="221917" y="221779"/>
                  </a:lnTo>
                  <a:lnTo>
                    <a:pt x="110793" y="221779"/>
                  </a:lnTo>
                  <a:lnTo>
                    <a:pt x="110793" y="332669"/>
                  </a:lnTo>
                  <a:lnTo>
                    <a:pt x="0" y="332669"/>
                  </a:lnTo>
                  <a:lnTo>
                    <a:pt x="0" y="443559"/>
                  </a:lnTo>
                  <a:lnTo>
                    <a:pt x="0" y="554449"/>
                  </a:lnTo>
                  <a:lnTo>
                    <a:pt x="0" y="665338"/>
                  </a:lnTo>
                  <a:lnTo>
                    <a:pt x="0" y="776228"/>
                  </a:lnTo>
                  <a:lnTo>
                    <a:pt x="0" y="887118"/>
                  </a:lnTo>
                  <a:lnTo>
                    <a:pt x="0" y="998007"/>
                  </a:lnTo>
                  <a:lnTo>
                    <a:pt x="0" y="1108897"/>
                  </a:lnTo>
                  <a:lnTo>
                    <a:pt x="0" y="1219787"/>
                  </a:lnTo>
                  <a:lnTo>
                    <a:pt x="0" y="1330676"/>
                  </a:lnTo>
                  <a:lnTo>
                    <a:pt x="0" y="1441566"/>
                  </a:lnTo>
                  <a:lnTo>
                    <a:pt x="0" y="1552456"/>
                  </a:lnTo>
                  <a:lnTo>
                    <a:pt x="0" y="1663346"/>
                  </a:lnTo>
                  <a:lnTo>
                    <a:pt x="0" y="1774235"/>
                  </a:lnTo>
                  <a:lnTo>
                    <a:pt x="0" y="1885125"/>
                  </a:lnTo>
                  <a:lnTo>
                    <a:pt x="0" y="1996015"/>
                  </a:lnTo>
                  <a:lnTo>
                    <a:pt x="0" y="2106905"/>
                  </a:lnTo>
                  <a:lnTo>
                    <a:pt x="0" y="2217794"/>
                  </a:lnTo>
                  <a:lnTo>
                    <a:pt x="0" y="2328684"/>
                  </a:lnTo>
                  <a:lnTo>
                    <a:pt x="0" y="2439573"/>
                  </a:lnTo>
                  <a:lnTo>
                    <a:pt x="110793" y="2439573"/>
                  </a:lnTo>
                  <a:lnTo>
                    <a:pt x="110793" y="2550463"/>
                  </a:lnTo>
                  <a:lnTo>
                    <a:pt x="221587" y="2550463"/>
                  </a:lnTo>
                  <a:lnTo>
                    <a:pt x="221587" y="2661353"/>
                  </a:lnTo>
                  <a:lnTo>
                    <a:pt x="332380" y="2661353"/>
                  </a:lnTo>
                  <a:lnTo>
                    <a:pt x="332380" y="2772243"/>
                  </a:lnTo>
                  <a:lnTo>
                    <a:pt x="443174" y="2772243"/>
                  </a:lnTo>
                  <a:lnTo>
                    <a:pt x="553967" y="2772243"/>
                  </a:lnTo>
                  <a:lnTo>
                    <a:pt x="664760" y="2772243"/>
                  </a:lnTo>
                  <a:lnTo>
                    <a:pt x="775554" y="2772243"/>
                  </a:lnTo>
                  <a:lnTo>
                    <a:pt x="886347" y="2772243"/>
                  </a:lnTo>
                  <a:lnTo>
                    <a:pt x="997140" y="2772243"/>
                  </a:lnTo>
                  <a:lnTo>
                    <a:pt x="1107934" y="2772243"/>
                  </a:lnTo>
                  <a:lnTo>
                    <a:pt x="1220046" y="2772243"/>
                  </a:lnTo>
                  <a:lnTo>
                    <a:pt x="1330840" y="2772243"/>
                  </a:lnTo>
                  <a:lnTo>
                    <a:pt x="1441633" y="2772243"/>
                  </a:lnTo>
                  <a:lnTo>
                    <a:pt x="1552426" y="2772243"/>
                  </a:lnTo>
                  <a:lnTo>
                    <a:pt x="1663220" y="2772243"/>
                  </a:lnTo>
                  <a:lnTo>
                    <a:pt x="1774013" y="2772243"/>
                  </a:lnTo>
                  <a:lnTo>
                    <a:pt x="1884806" y="2772243"/>
                  </a:lnTo>
                  <a:lnTo>
                    <a:pt x="1995600" y="2772243"/>
                  </a:lnTo>
                  <a:lnTo>
                    <a:pt x="2106393" y="2772243"/>
                  </a:lnTo>
                  <a:lnTo>
                    <a:pt x="2217187" y="2772243"/>
                  </a:lnTo>
                  <a:lnTo>
                    <a:pt x="2327980" y="2772243"/>
                  </a:lnTo>
                  <a:lnTo>
                    <a:pt x="2440092" y="2772243"/>
                  </a:lnTo>
                  <a:lnTo>
                    <a:pt x="2440092" y="2661353"/>
                  </a:lnTo>
                  <a:lnTo>
                    <a:pt x="2550886" y="2661353"/>
                  </a:lnTo>
                  <a:lnTo>
                    <a:pt x="2550886" y="2550463"/>
                  </a:lnTo>
                  <a:lnTo>
                    <a:pt x="2661679" y="2550463"/>
                  </a:lnTo>
                  <a:lnTo>
                    <a:pt x="2661679" y="2439573"/>
                  </a:lnTo>
                  <a:lnTo>
                    <a:pt x="2773132" y="2439573"/>
                  </a:lnTo>
                  <a:lnTo>
                    <a:pt x="2773132" y="2328684"/>
                  </a:lnTo>
                  <a:lnTo>
                    <a:pt x="2773132" y="2217794"/>
                  </a:lnTo>
                  <a:lnTo>
                    <a:pt x="2773132" y="2106905"/>
                  </a:lnTo>
                  <a:lnTo>
                    <a:pt x="2773132" y="1998325"/>
                  </a:lnTo>
                  <a:lnTo>
                    <a:pt x="2773132" y="1887435"/>
                  </a:lnTo>
                  <a:lnTo>
                    <a:pt x="2773132" y="1776546"/>
                  </a:lnTo>
                  <a:lnTo>
                    <a:pt x="2773132" y="1664996"/>
                  </a:lnTo>
                  <a:lnTo>
                    <a:pt x="2773132" y="1554106"/>
                  </a:lnTo>
                  <a:lnTo>
                    <a:pt x="2773132" y="1443216"/>
                  </a:lnTo>
                  <a:lnTo>
                    <a:pt x="2773132" y="1332326"/>
                  </a:lnTo>
                  <a:lnTo>
                    <a:pt x="2773132" y="1221437"/>
                  </a:lnTo>
                  <a:lnTo>
                    <a:pt x="2773132" y="1110547"/>
                  </a:lnTo>
                  <a:lnTo>
                    <a:pt x="2773132" y="999658"/>
                  </a:lnTo>
                  <a:lnTo>
                    <a:pt x="2773132" y="888768"/>
                  </a:lnTo>
                  <a:lnTo>
                    <a:pt x="2773132" y="777878"/>
                  </a:lnTo>
                  <a:lnTo>
                    <a:pt x="2773132" y="666988"/>
                  </a:lnTo>
                  <a:lnTo>
                    <a:pt x="2773132" y="556099"/>
                  </a:lnTo>
                  <a:lnTo>
                    <a:pt x="2773132" y="443889"/>
                  </a:lnTo>
                  <a:lnTo>
                    <a:pt x="2773132" y="332999"/>
                  </a:lnTo>
                  <a:lnTo>
                    <a:pt x="2662339" y="332999"/>
                  </a:lnTo>
                  <a:lnTo>
                    <a:pt x="2662339" y="221779"/>
                  </a:lnTo>
                  <a:close/>
                  <a:moveTo>
                    <a:pt x="776543" y="776888"/>
                  </a:moveTo>
                  <a:lnTo>
                    <a:pt x="776543" y="887778"/>
                  </a:lnTo>
                  <a:lnTo>
                    <a:pt x="887336" y="887778"/>
                  </a:lnTo>
                  <a:lnTo>
                    <a:pt x="887336" y="998667"/>
                  </a:lnTo>
                  <a:lnTo>
                    <a:pt x="998130" y="998667"/>
                  </a:lnTo>
                  <a:lnTo>
                    <a:pt x="998130" y="1109557"/>
                  </a:lnTo>
                  <a:lnTo>
                    <a:pt x="1108923" y="1109557"/>
                  </a:lnTo>
                  <a:lnTo>
                    <a:pt x="1108923" y="1220447"/>
                  </a:lnTo>
                  <a:lnTo>
                    <a:pt x="1220046" y="1220447"/>
                  </a:lnTo>
                  <a:lnTo>
                    <a:pt x="1330840" y="1220447"/>
                  </a:lnTo>
                  <a:lnTo>
                    <a:pt x="1330840" y="1109557"/>
                  </a:lnTo>
                  <a:lnTo>
                    <a:pt x="1441633" y="1109557"/>
                  </a:lnTo>
                  <a:lnTo>
                    <a:pt x="1441633" y="998667"/>
                  </a:lnTo>
                  <a:lnTo>
                    <a:pt x="1441633" y="887778"/>
                  </a:lnTo>
                  <a:lnTo>
                    <a:pt x="1552426" y="887778"/>
                  </a:lnTo>
                  <a:lnTo>
                    <a:pt x="1552426" y="776888"/>
                  </a:lnTo>
                  <a:lnTo>
                    <a:pt x="1663220" y="776888"/>
                  </a:lnTo>
                  <a:lnTo>
                    <a:pt x="1774013" y="776888"/>
                  </a:lnTo>
                  <a:lnTo>
                    <a:pt x="1884806" y="776888"/>
                  </a:lnTo>
                  <a:lnTo>
                    <a:pt x="1884806" y="887778"/>
                  </a:lnTo>
                  <a:lnTo>
                    <a:pt x="1995600" y="887778"/>
                  </a:lnTo>
                  <a:lnTo>
                    <a:pt x="2106393" y="887778"/>
                  </a:lnTo>
                  <a:lnTo>
                    <a:pt x="2106393" y="998667"/>
                  </a:lnTo>
                  <a:lnTo>
                    <a:pt x="1995600" y="998667"/>
                  </a:lnTo>
                  <a:lnTo>
                    <a:pt x="1995600" y="1109557"/>
                  </a:lnTo>
                  <a:lnTo>
                    <a:pt x="1884806" y="1109557"/>
                  </a:lnTo>
                  <a:lnTo>
                    <a:pt x="1884806" y="1220447"/>
                  </a:lnTo>
                  <a:lnTo>
                    <a:pt x="1995600" y="1220447"/>
                  </a:lnTo>
                  <a:lnTo>
                    <a:pt x="1995600" y="1331337"/>
                  </a:lnTo>
                  <a:lnTo>
                    <a:pt x="1995600" y="1442226"/>
                  </a:lnTo>
                  <a:lnTo>
                    <a:pt x="1884806" y="1442226"/>
                  </a:lnTo>
                  <a:lnTo>
                    <a:pt x="1884806" y="1553116"/>
                  </a:lnTo>
                  <a:lnTo>
                    <a:pt x="1884806" y="1664005"/>
                  </a:lnTo>
                  <a:lnTo>
                    <a:pt x="1774013" y="1664005"/>
                  </a:lnTo>
                  <a:lnTo>
                    <a:pt x="1774013" y="1774896"/>
                  </a:lnTo>
                  <a:lnTo>
                    <a:pt x="1663220" y="1774896"/>
                  </a:lnTo>
                  <a:lnTo>
                    <a:pt x="1663220" y="1885785"/>
                  </a:lnTo>
                  <a:lnTo>
                    <a:pt x="1552426" y="1885785"/>
                  </a:lnTo>
                  <a:lnTo>
                    <a:pt x="1552426" y="1996675"/>
                  </a:lnTo>
                  <a:lnTo>
                    <a:pt x="1441633" y="1996675"/>
                  </a:lnTo>
                  <a:lnTo>
                    <a:pt x="1330840" y="1996675"/>
                  </a:lnTo>
                  <a:lnTo>
                    <a:pt x="1220046" y="1996675"/>
                  </a:lnTo>
                  <a:lnTo>
                    <a:pt x="1109253" y="1996675"/>
                  </a:lnTo>
                  <a:lnTo>
                    <a:pt x="998459" y="1996675"/>
                  </a:lnTo>
                  <a:lnTo>
                    <a:pt x="887666" y="1996675"/>
                  </a:lnTo>
                  <a:lnTo>
                    <a:pt x="776873" y="1996675"/>
                  </a:lnTo>
                  <a:lnTo>
                    <a:pt x="776873" y="1885785"/>
                  </a:lnTo>
                  <a:lnTo>
                    <a:pt x="887666" y="1885785"/>
                  </a:lnTo>
                  <a:lnTo>
                    <a:pt x="998459" y="1885785"/>
                  </a:lnTo>
                  <a:lnTo>
                    <a:pt x="998459" y="1774896"/>
                  </a:lnTo>
                  <a:lnTo>
                    <a:pt x="998459" y="1664996"/>
                  </a:lnTo>
                  <a:lnTo>
                    <a:pt x="887666" y="1664996"/>
                  </a:lnTo>
                  <a:lnTo>
                    <a:pt x="776873" y="1664996"/>
                  </a:lnTo>
                  <a:lnTo>
                    <a:pt x="776873" y="1554106"/>
                  </a:lnTo>
                  <a:lnTo>
                    <a:pt x="887666" y="1554106"/>
                  </a:lnTo>
                  <a:lnTo>
                    <a:pt x="887666" y="1443216"/>
                  </a:lnTo>
                  <a:lnTo>
                    <a:pt x="776873" y="1443216"/>
                  </a:lnTo>
                  <a:lnTo>
                    <a:pt x="776873" y="1332326"/>
                  </a:lnTo>
                  <a:lnTo>
                    <a:pt x="666079" y="1332326"/>
                  </a:lnTo>
                  <a:lnTo>
                    <a:pt x="666079" y="1221437"/>
                  </a:lnTo>
                  <a:lnTo>
                    <a:pt x="776873" y="1221437"/>
                  </a:lnTo>
                  <a:lnTo>
                    <a:pt x="776873" y="1110547"/>
                  </a:lnTo>
                  <a:lnTo>
                    <a:pt x="666079" y="1110547"/>
                  </a:lnTo>
                  <a:lnTo>
                    <a:pt x="666079" y="999658"/>
                  </a:lnTo>
                  <a:lnTo>
                    <a:pt x="666079" y="888768"/>
                  </a:lnTo>
                  <a:lnTo>
                    <a:pt x="666079" y="777878"/>
                  </a:lnTo>
                  <a:lnTo>
                    <a:pt x="776543" y="777878"/>
                  </a:lnTo>
                  <a:close/>
                </a:path>
              </a:pathLst>
            </a:custGeom>
            <a:solidFill>
              <a:srgbClr val="231F20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2910CEE-BB6E-71AC-391F-4761124E5112}"/>
              </a:ext>
            </a:extLst>
          </p:cNvPr>
          <p:cNvGrpSpPr/>
          <p:nvPr/>
        </p:nvGrpSpPr>
        <p:grpSpPr>
          <a:xfrm>
            <a:off x="994023" y="2124210"/>
            <a:ext cx="670848" cy="671430"/>
            <a:chOff x="-3669270" y="-126010"/>
            <a:chExt cx="2773132" cy="2775542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854070B9-36C9-3F3D-7CF9-2B96879268C0}"/>
                </a:ext>
              </a:extLst>
            </p:cNvPr>
            <p:cNvSpPr/>
            <p:nvPr/>
          </p:nvSpPr>
          <p:spPr>
            <a:xfrm>
              <a:off x="-2449223" y="1095096"/>
              <a:ext cx="998459" cy="999327"/>
            </a:xfrm>
            <a:custGeom>
              <a:avLst/>
              <a:gdLst>
                <a:gd name="connsiteX0" fmla="*/ 887336 w 998459"/>
                <a:gd name="connsiteY0" fmla="*/ 222109 h 999327"/>
                <a:gd name="connsiteX1" fmla="*/ 887336 w 998459"/>
                <a:gd name="connsiteY1" fmla="*/ 111220 h 999327"/>
                <a:gd name="connsiteX2" fmla="*/ 776543 w 998459"/>
                <a:gd name="connsiteY2" fmla="*/ 111220 h 999327"/>
                <a:gd name="connsiteX3" fmla="*/ 776543 w 998459"/>
                <a:gd name="connsiteY3" fmla="*/ 0 h 999327"/>
                <a:gd name="connsiteX4" fmla="*/ 665420 w 998459"/>
                <a:gd name="connsiteY4" fmla="*/ 0 h 999327"/>
                <a:gd name="connsiteX5" fmla="*/ 554626 w 998459"/>
                <a:gd name="connsiteY5" fmla="*/ 0 h 999327"/>
                <a:gd name="connsiteX6" fmla="*/ 443833 w 998459"/>
                <a:gd name="connsiteY6" fmla="*/ 0 h 999327"/>
                <a:gd name="connsiteX7" fmla="*/ 443833 w 998459"/>
                <a:gd name="connsiteY7" fmla="*/ 111220 h 999327"/>
                <a:gd name="connsiteX8" fmla="*/ 332710 w 998459"/>
                <a:gd name="connsiteY8" fmla="*/ 111220 h 999327"/>
                <a:gd name="connsiteX9" fmla="*/ 332710 w 998459"/>
                <a:gd name="connsiteY9" fmla="*/ 0 h 999327"/>
                <a:gd name="connsiteX10" fmla="*/ 221916 w 998459"/>
                <a:gd name="connsiteY10" fmla="*/ 0 h 999327"/>
                <a:gd name="connsiteX11" fmla="*/ 111123 w 998459"/>
                <a:gd name="connsiteY11" fmla="*/ 0 h 999327"/>
                <a:gd name="connsiteX12" fmla="*/ 0 w 998459"/>
                <a:gd name="connsiteY12" fmla="*/ 0 h 999327"/>
                <a:gd name="connsiteX13" fmla="*/ 0 w 998459"/>
                <a:gd name="connsiteY13" fmla="*/ 111220 h 999327"/>
                <a:gd name="connsiteX14" fmla="*/ 0 w 998459"/>
                <a:gd name="connsiteY14" fmla="*/ 222109 h 999327"/>
                <a:gd name="connsiteX15" fmla="*/ 0 w 998459"/>
                <a:gd name="connsiteY15" fmla="*/ 332999 h 999327"/>
                <a:gd name="connsiteX16" fmla="*/ 0 w 998459"/>
                <a:gd name="connsiteY16" fmla="*/ 444219 h 999327"/>
                <a:gd name="connsiteX17" fmla="*/ 0 w 998459"/>
                <a:gd name="connsiteY17" fmla="*/ 555109 h 999327"/>
                <a:gd name="connsiteX18" fmla="*/ 0 w 998459"/>
                <a:gd name="connsiteY18" fmla="*/ 665998 h 999327"/>
                <a:gd name="connsiteX19" fmla="*/ 0 w 998459"/>
                <a:gd name="connsiteY19" fmla="*/ 777218 h 999327"/>
                <a:gd name="connsiteX20" fmla="*/ 0 w 998459"/>
                <a:gd name="connsiteY20" fmla="*/ 888108 h 999327"/>
                <a:gd name="connsiteX21" fmla="*/ 0 w 998459"/>
                <a:gd name="connsiteY21" fmla="*/ 999327 h 999327"/>
                <a:gd name="connsiteX22" fmla="*/ 111123 w 998459"/>
                <a:gd name="connsiteY22" fmla="*/ 999327 h 999327"/>
                <a:gd name="connsiteX23" fmla="*/ 221916 w 998459"/>
                <a:gd name="connsiteY23" fmla="*/ 999327 h 999327"/>
                <a:gd name="connsiteX24" fmla="*/ 332710 w 998459"/>
                <a:gd name="connsiteY24" fmla="*/ 999327 h 999327"/>
                <a:gd name="connsiteX25" fmla="*/ 332710 w 998459"/>
                <a:gd name="connsiteY25" fmla="*/ 888108 h 999327"/>
                <a:gd name="connsiteX26" fmla="*/ 332710 w 998459"/>
                <a:gd name="connsiteY26" fmla="*/ 777218 h 999327"/>
                <a:gd name="connsiteX27" fmla="*/ 332710 w 998459"/>
                <a:gd name="connsiteY27" fmla="*/ 665998 h 999327"/>
                <a:gd name="connsiteX28" fmla="*/ 332710 w 998459"/>
                <a:gd name="connsiteY28" fmla="*/ 555109 h 999327"/>
                <a:gd name="connsiteX29" fmla="*/ 332710 w 998459"/>
                <a:gd name="connsiteY29" fmla="*/ 444219 h 999327"/>
                <a:gd name="connsiteX30" fmla="*/ 332710 w 998459"/>
                <a:gd name="connsiteY30" fmla="*/ 332999 h 999327"/>
                <a:gd name="connsiteX31" fmla="*/ 443833 w 998459"/>
                <a:gd name="connsiteY31" fmla="*/ 332999 h 999327"/>
                <a:gd name="connsiteX32" fmla="*/ 443833 w 998459"/>
                <a:gd name="connsiteY32" fmla="*/ 222109 h 999327"/>
                <a:gd name="connsiteX33" fmla="*/ 554626 w 998459"/>
                <a:gd name="connsiteY33" fmla="*/ 222109 h 999327"/>
                <a:gd name="connsiteX34" fmla="*/ 665420 w 998459"/>
                <a:gd name="connsiteY34" fmla="*/ 222109 h 999327"/>
                <a:gd name="connsiteX35" fmla="*/ 665420 w 998459"/>
                <a:gd name="connsiteY35" fmla="*/ 332999 h 999327"/>
                <a:gd name="connsiteX36" fmla="*/ 776543 w 998459"/>
                <a:gd name="connsiteY36" fmla="*/ 332999 h 999327"/>
                <a:gd name="connsiteX37" fmla="*/ 776543 w 998459"/>
                <a:gd name="connsiteY37" fmla="*/ 444219 h 999327"/>
                <a:gd name="connsiteX38" fmla="*/ 776543 w 998459"/>
                <a:gd name="connsiteY38" fmla="*/ 555109 h 999327"/>
                <a:gd name="connsiteX39" fmla="*/ 776543 w 998459"/>
                <a:gd name="connsiteY39" fmla="*/ 665998 h 999327"/>
                <a:gd name="connsiteX40" fmla="*/ 776543 w 998459"/>
                <a:gd name="connsiteY40" fmla="*/ 777218 h 999327"/>
                <a:gd name="connsiteX41" fmla="*/ 776543 w 998459"/>
                <a:gd name="connsiteY41" fmla="*/ 888108 h 999327"/>
                <a:gd name="connsiteX42" fmla="*/ 776543 w 998459"/>
                <a:gd name="connsiteY42" fmla="*/ 999327 h 999327"/>
                <a:gd name="connsiteX43" fmla="*/ 887336 w 998459"/>
                <a:gd name="connsiteY43" fmla="*/ 999327 h 999327"/>
                <a:gd name="connsiteX44" fmla="*/ 998459 w 998459"/>
                <a:gd name="connsiteY44" fmla="*/ 999327 h 999327"/>
                <a:gd name="connsiteX45" fmla="*/ 998459 w 998459"/>
                <a:gd name="connsiteY45" fmla="*/ 888108 h 999327"/>
                <a:gd name="connsiteX46" fmla="*/ 998459 w 998459"/>
                <a:gd name="connsiteY46" fmla="*/ 777218 h 999327"/>
                <a:gd name="connsiteX47" fmla="*/ 998459 w 998459"/>
                <a:gd name="connsiteY47" fmla="*/ 665998 h 999327"/>
                <a:gd name="connsiteX48" fmla="*/ 998459 w 998459"/>
                <a:gd name="connsiteY48" fmla="*/ 555109 h 999327"/>
                <a:gd name="connsiteX49" fmla="*/ 998459 w 998459"/>
                <a:gd name="connsiteY49" fmla="*/ 444219 h 999327"/>
                <a:gd name="connsiteX50" fmla="*/ 998459 w 998459"/>
                <a:gd name="connsiteY50" fmla="*/ 332999 h 999327"/>
                <a:gd name="connsiteX51" fmla="*/ 998459 w 998459"/>
                <a:gd name="connsiteY51" fmla="*/ 222109 h 9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998459" h="999327">
                  <a:moveTo>
                    <a:pt x="887336" y="222109"/>
                  </a:moveTo>
                  <a:lnTo>
                    <a:pt x="887336" y="111220"/>
                  </a:lnTo>
                  <a:lnTo>
                    <a:pt x="776543" y="111220"/>
                  </a:lnTo>
                  <a:lnTo>
                    <a:pt x="776543" y="0"/>
                  </a:lnTo>
                  <a:lnTo>
                    <a:pt x="665420" y="0"/>
                  </a:lnTo>
                  <a:lnTo>
                    <a:pt x="554626" y="0"/>
                  </a:lnTo>
                  <a:lnTo>
                    <a:pt x="443833" y="0"/>
                  </a:lnTo>
                  <a:lnTo>
                    <a:pt x="443833" y="111220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6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0" y="444219"/>
                  </a:lnTo>
                  <a:lnTo>
                    <a:pt x="0" y="555109"/>
                  </a:lnTo>
                  <a:lnTo>
                    <a:pt x="0" y="665998"/>
                  </a:lnTo>
                  <a:lnTo>
                    <a:pt x="0" y="777218"/>
                  </a:lnTo>
                  <a:lnTo>
                    <a:pt x="0" y="888108"/>
                  </a:lnTo>
                  <a:lnTo>
                    <a:pt x="0" y="999327"/>
                  </a:lnTo>
                  <a:lnTo>
                    <a:pt x="111123" y="999327"/>
                  </a:lnTo>
                  <a:lnTo>
                    <a:pt x="221916" y="999327"/>
                  </a:lnTo>
                  <a:lnTo>
                    <a:pt x="332710" y="999327"/>
                  </a:lnTo>
                  <a:lnTo>
                    <a:pt x="332710" y="888108"/>
                  </a:lnTo>
                  <a:lnTo>
                    <a:pt x="332710" y="777218"/>
                  </a:lnTo>
                  <a:lnTo>
                    <a:pt x="332710" y="665998"/>
                  </a:lnTo>
                  <a:lnTo>
                    <a:pt x="332710" y="555109"/>
                  </a:lnTo>
                  <a:lnTo>
                    <a:pt x="332710" y="444219"/>
                  </a:lnTo>
                  <a:lnTo>
                    <a:pt x="332710" y="332999"/>
                  </a:lnTo>
                  <a:lnTo>
                    <a:pt x="443833" y="332999"/>
                  </a:lnTo>
                  <a:lnTo>
                    <a:pt x="443833" y="222109"/>
                  </a:lnTo>
                  <a:lnTo>
                    <a:pt x="554626" y="222109"/>
                  </a:lnTo>
                  <a:lnTo>
                    <a:pt x="665420" y="222109"/>
                  </a:lnTo>
                  <a:lnTo>
                    <a:pt x="665420" y="332999"/>
                  </a:lnTo>
                  <a:lnTo>
                    <a:pt x="776543" y="332999"/>
                  </a:lnTo>
                  <a:lnTo>
                    <a:pt x="776543" y="444219"/>
                  </a:lnTo>
                  <a:lnTo>
                    <a:pt x="776543" y="555109"/>
                  </a:lnTo>
                  <a:lnTo>
                    <a:pt x="776543" y="665998"/>
                  </a:lnTo>
                  <a:lnTo>
                    <a:pt x="776543" y="777218"/>
                  </a:lnTo>
                  <a:lnTo>
                    <a:pt x="776543" y="888108"/>
                  </a:lnTo>
                  <a:lnTo>
                    <a:pt x="776543" y="999327"/>
                  </a:lnTo>
                  <a:lnTo>
                    <a:pt x="887336" y="999327"/>
                  </a:lnTo>
                  <a:lnTo>
                    <a:pt x="998459" y="999327"/>
                  </a:lnTo>
                  <a:lnTo>
                    <a:pt x="998459" y="888108"/>
                  </a:lnTo>
                  <a:lnTo>
                    <a:pt x="998459" y="777218"/>
                  </a:lnTo>
                  <a:lnTo>
                    <a:pt x="998459" y="665998"/>
                  </a:lnTo>
                  <a:lnTo>
                    <a:pt x="998459" y="555109"/>
                  </a:lnTo>
                  <a:lnTo>
                    <a:pt x="998459" y="444219"/>
                  </a:lnTo>
                  <a:lnTo>
                    <a:pt x="998459" y="332999"/>
                  </a:lnTo>
                  <a:lnTo>
                    <a:pt x="998459" y="222109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839F42EC-620D-3F73-73AE-1689FC6F7146}"/>
                </a:ext>
              </a:extLst>
            </p:cNvPr>
            <p:cNvSpPr/>
            <p:nvPr/>
          </p:nvSpPr>
          <p:spPr>
            <a:xfrm>
              <a:off x="-3003850" y="1095096"/>
              <a:ext cx="332709" cy="999327"/>
            </a:xfrm>
            <a:custGeom>
              <a:avLst/>
              <a:gdLst>
                <a:gd name="connsiteX0" fmla="*/ 221917 w 332709"/>
                <a:gd name="connsiteY0" fmla="*/ 999327 h 999327"/>
                <a:gd name="connsiteX1" fmla="*/ 332710 w 332709"/>
                <a:gd name="connsiteY1" fmla="*/ 999327 h 999327"/>
                <a:gd name="connsiteX2" fmla="*/ 332710 w 332709"/>
                <a:gd name="connsiteY2" fmla="*/ 888108 h 999327"/>
                <a:gd name="connsiteX3" fmla="*/ 332710 w 332709"/>
                <a:gd name="connsiteY3" fmla="*/ 777218 h 999327"/>
                <a:gd name="connsiteX4" fmla="*/ 332710 w 332709"/>
                <a:gd name="connsiteY4" fmla="*/ 665998 h 999327"/>
                <a:gd name="connsiteX5" fmla="*/ 332710 w 332709"/>
                <a:gd name="connsiteY5" fmla="*/ 555109 h 999327"/>
                <a:gd name="connsiteX6" fmla="*/ 332710 w 332709"/>
                <a:gd name="connsiteY6" fmla="*/ 444219 h 999327"/>
                <a:gd name="connsiteX7" fmla="*/ 332710 w 332709"/>
                <a:gd name="connsiteY7" fmla="*/ 332999 h 999327"/>
                <a:gd name="connsiteX8" fmla="*/ 332710 w 332709"/>
                <a:gd name="connsiteY8" fmla="*/ 222109 h 999327"/>
                <a:gd name="connsiteX9" fmla="*/ 332710 w 332709"/>
                <a:gd name="connsiteY9" fmla="*/ 111220 h 999327"/>
                <a:gd name="connsiteX10" fmla="*/ 332710 w 332709"/>
                <a:gd name="connsiteY10" fmla="*/ 0 h 999327"/>
                <a:gd name="connsiteX11" fmla="*/ 221917 w 332709"/>
                <a:gd name="connsiteY11" fmla="*/ 0 h 999327"/>
                <a:gd name="connsiteX12" fmla="*/ 111123 w 332709"/>
                <a:gd name="connsiteY12" fmla="*/ 0 h 999327"/>
                <a:gd name="connsiteX13" fmla="*/ 0 w 332709"/>
                <a:gd name="connsiteY13" fmla="*/ 0 h 999327"/>
                <a:gd name="connsiteX14" fmla="*/ 0 w 332709"/>
                <a:gd name="connsiteY14" fmla="*/ 111220 h 999327"/>
                <a:gd name="connsiteX15" fmla="*/ 0 w 332709"/>
                <a:gd name="connsiteY15" fmla="*/ 222109 h 999327"/>
                <a:gd name="connsiteX16" fmla="*/ 0 w 332709"/>
                <a:gd name="connsiteY16" fmla="*/ 332999 h 999327"/>
                <a:gd name="connsiteX17" fmla="*/ 0 w 332709"/>
                <a:gd name="connsiteY17" fmla="*/ 444219 h 999327"/>
                <a:gd name="connsiteX18" fmla="*/ 0 w 332709"/>
                <a:gd name="connsiteY18" fmla="*/ 555109 h 999327"/>
                <a:gd name="connsiteX19" fmla="*/ 0 w 332709"/>
                <a:gd name="connsiteY19" fmla="*/ 665998 h 999327"/>
                <a:gd name="connsiteX20" fmla="*/ 0 w 332709"/>
                <a:gd name="connsiteY20" fmla="*/ 777218 h 999327"/>
                <a:gd name="connsiteX21" fmla="*/ 0 w 332709"/>
                <a:gd name="connsiteY21" fmla="*/ 888108 h 999327"/>
                <a:gd name="connsiteX22" fmla="*/ 0 w 332709"/>
                <a:gd name="connsiteY22" fmla="*/ 999327 h 999327"/>
                <a:gd name="connsiteX23" fmla="*/ 111123 w 332709"/>
                <a:gd name="connsiteY23" fmla="*/ 999327 h 9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32709" h="999327">
                  <a:moveTo>
                    <a:pt x="221917" y="999327"/>
                  </a:moveTo>
                  <a:lnTo>
                    <a:pt x="332710" y="999327"/>
                  </a:lnTo>
                  <a:lnTo>
                    <a:pt x="332710" y="888108"/>
                  </a:lnTo>
                  <a:lnTo>
                    <a:pt x="332710" y="777218"/>
                  </a:lnTo>
                  <a:lnTo>
                    <a:pt x="332710" y="665998"/>
                  </a:lnTo>
                  <a:lnTo>
                    <a:pt x="332710" y="555109"/>
                  </a:lnTo>
                  <a:lnTo>
                    <a:pt x="332710" y="444219"/>
                  </a:lnTo>
                  <a:lnTo>
                    <a:pt x="332710" y="332999"/>
                  </a:lnTo>
                  <a:lnTo>
                    <a:pt x="332710" y="222109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7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0" y="444219"/>
                  </a:lnTo>
                  <a:lnTo>
                    <a:pt x="0" y="555109"/>
                  </a:lnTo>
                  <a:lnTo>
                    <a:pt x="0" y="665998"/>
                  </a:lnTo>
                  <a:lnTo>
                    <a:pt x="0" y="777218"/>
                  </a:lnTo>
                  <a:lnTo>
                    <a:pt x="0" y="888108"/>
                  </a:lnTo>
                  <a:lnTo>
                    <a:pt x="0" y="999327"/>
                  </a:lnTo>
                  <a:lnTo>
                    <a:pt x="111123" y="999327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A1C8C9F2-F26C-1C64-B5B8-E2A195999BFE}"/>
                </a:ext>
              </a:extLst>
            </p:cNvPr>
            <p:cNvSpPr/>
            <p:nvPr/>
          </p:nvSpPr>
          <p:spPr>
            <a:xfrm>
              <a:off x="-3003850" y="539988"/>
              <a:ext cx="332709" cy="332999"/>
            </a:xfrm>
            <a:custGeom>
              <a:avLst/>
              <a:gdLst>
                <a:gd name="connsiteX0" fmla="*/ 221917 w 332709"/>
                <a:gd name="connsiteY0" fmla="*/ 332999 h 332999"/>
                <a:gd name="connsiteX1" fmla="*/ 332710 w 332709"/>
                <a:gd name="connsiteY1" fmla="*/ 332999 h 332999"/>
                <a:gd name="connsiteX2" fmla="*/ 332710 w 332709"/>
                <a:gd name="connsiteY2" fmla="*/ 222109 h 332999"/>
                <a:gd name="connsiteX3" fmla="*/ 332710 w 332709"/>
                <a:gd name="connsiteY3" fmla="*/ 111220 h 332999"/>
                <a:gd name="connsiteX4" fmla="*/ 332710 w 332709"/>
                <a:gd name="connsiteY4" fmla="*/ 0 h 332999"/>
                <a:gd name="connsiteX5" fmla="*/ 221917 w 332709"/>
                <a:gd name="connsiteY5" fmla="*/ 0 h 332999"/>
                <a:gd name="connsiteX6" fmla="*/ 111123 w 332709"/>
                <a:gd name="connsiteY6" fmla="*/ 0 h 332999"/>
                <a:gd name="connsiteX7" fmla="*/ 0 w 332709"/>
                <a:gd name="connsiteY7" fmla="*/ 0 h 332999"/>
                <a:gd name="connsiteX8" fmla="*/ 0 w 332709"/>
                <a:gd name="connsiteY8" fmla="*/ 111220 h 332999"/>
                <a:gd name="connsiteX9" fmla="*/ 0 w 332709"/>
                <a:gd name="connsiteY9" fmla="*/ 222109 h 332999"/>
                <a:gd name="connsiteX10" fmla="*/ 0 w 332709"/>
                <a:gd name="connsiteY10" fmla="*/ 332999 h 332999"/>
                <a:gd name="connsiteX11" fmla="*/ 111123 w 332709"/>
                <a:gd name="connsiteY11" fmla="*/ 332999 h 332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2709" h="332999">
                  <a:moveTo>
                    <a:pt x="221917" y="332999"/>
                  </a:moveTo>
                  <a:lnTo>
                    <a:pt x="332710" y="332999"/>
                  </a:lnTo>
                  <a:lnTo>
                    <a:pt x="332710" y="222109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7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111123" y="332999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22E64266-4D00-D16F-C3F2-C347228CC89C}"/>
                </a:ext>
              </a:extLst>
            </p:cNvPr>
            <p:cNvSpPr/>
            <p:nvPr/>
          </p:nvSpPr>
          <p:spPr>
            <a:xfrm>
              <a:off x="-3669270" y="-126010"/>
              <a:ext cx="2773132" cy="2775542"/>
            </a:xfrm>
            <a:custGeom>
              <a:avLst/>
              <a:gdLst>
                <a:gd name="connsiteX0" fmla="*/ 2662009 w 2773132"/>
                <a:gd name="connsiteY0" fmla="*/ 332999 h 2775542"/>
                <a:gd name="connsiteX1" fmla="*/ 2662009 w 2773132"/>
                <a:gd name="connsiteY1" fmla="*/ 222109 h 2775542"/>
                <a:gd name="connsiteX2" fmla="*/ 2551216 w 2773132"/>
                <a:gd name="connsiteY2" fmla="*/ 222109 h 2775542"/>
                <a:gd name="connsiteX3" fmla="*/ 2551216 w 2773132"/>
                <a:gd name="connsiteY3" fmla="*/ 110890 h 2775542"/>
                <a:gd name="connsiteX4" fmla="*/ 2440092 w 2773132"/>
                <a:gd name="connsiteY4" fmla="*/ 110890 h 2775542"/>
                <a:gd name="connsiteX5" fmla="*/ 2440092 w 2773132"/>
                <a:gd name="connsiteY5" fmla="*/ 0 h 2775542"/>
                <a:gd name="connsiteX6" fmla="*/ 2329299 w 2773132"/>
                <a:gd name="connsiteY6" fmla="*/ 0 h 2775542"/>
                <a:gd name="connsiteX7" fmla="*/ 2218506 w 2773132"/>
                <a:gd name="connsiteY7" fmla="*/ 0 h 2775542"/>
                <a:gd name="connsiteX8" fmla="*/ 2107712 w 2773132"/>
                <a:gd name="connsiteY8" fmla="*/ 0 h 2775542"/>
                <a:gd name="connsiteX9" fmla="*/ 1996919 w 2773132"/>
                <a:gd name="connsiteY9" fmla="*/ 0 h 2775542"/>
                <a:gd name="connsiteX10" fmla="*/ 1886126 w 2773132"/>
                <a:gd name="connsiteY10" fmla="*/ 0 h 2775542"/>
                <a:gd name="connsiteX11" fmla="*/ 1775332 w 2773132"/>
                <a:gd name="connsiteY11" fmla="*/ 0 h 2775542"/>
                <a:gd name="connsiteX12" fmla="*/ 1664539 w 2773132"/>
                <a:gd name="connsiteY12" fmla="*/ 0 h 2775542"/>
                <a:gd name="connsiteX13" fmla="*/ 1553745 w 2773132"/>
                <a:gd name="connsiteY13" fmla="*/ 0 h 2775542"/>
                <a:gd name="connsiteX14" fmla="*/ 1442952 w 2773132"/>
                <a:gd name="connsiteY14" fmla="*/ 0 h 2775542"/>
                <a:gd name="connsiteX15" fmla="*/ 1332159 w 2773132"/>
                <a:gd name="connsiteY15" fmla="*/ 0 h 2775542"/>
                <a:gd name="connsiteX16" fmla="*/ 1220046 w 2773132"/>
                <a:gd name="connsiteY16" fmla="*/ 0 h 2775542"/>
                <a:gd name="connsiteX17" fmla="*/ 1109253 w 2773132"/>
                <a:gd name="connsiteY17" fmla="*/ 0 h 2775542"/>
                <a:gd name="connsiteX18" fmla="*/ 998459 w 2773132"/>
                <a:gd name="connsiteY18" fmla="*/ 0 h 2775542"/>
                <a:gd name="connsiteX19" fmla="*/ 887666 w 2773132"/>
                <a:gd name="connsiteY19" fmla="*/ 0 h 2775542"/>
                <a:gd name="connsiteX20" fmla="*/ 776873 w 2773132"/>
                <a:gd name="connsiteY20" fmla="*/ 0 h 2775542"/>
                <a:gd name="connsiteX21" fmla="*/ 666079 w 2773132"/>
                <a:gd name="connsiteY21" fmla="*/ 0 h 2775542"/>
                <a:gd name="connsiteX22" fmla="*/ 555286 w 2773132"/>
                <a:gd name="connsiteY22" fmla="*/ 0 h 2775542"/>
                <a:gd name="connsiteX23" fmla="*/ 444493 w 2773132"/>
                <a:gd name="connsiteY23" fmla="*/ 0 h 2775542"/>
                <a:gd name="connsiteX24" fmla="*/ 333699 w 2773132"/>
                <a:gd name="connsiteY24" fmla="*/ 0 h 2775542"/>
                <a:gd name="connsiteX25" fmla="*/ 333699 w 2773132"/>
                <a:gd name="connsiteY25" fmla="*/ 110890 h 2775542"/>
                <a:gd name="connsiteX26" fmla="*/ 221917 w 2773132"/>
                <a:gd name="connsiteY26" fmla="*/ 110890 h 2775542"/>
                <a:gd name="connsiteX27" fmla="*/ 221917 w 2773132"/>
                <a:gd name="connsiteY27" fmla="*/ 221779 h 2775542"/>
                <a:gd name="connsiteX28" fmla="*/ 110793 w 2773132"/>
                <a:gd name="connsiteY28" fmla="*/ 221779 h 2775542"/>
                <a:gd name="connsiteX29" fmla="*/ 110793 w 2773132"/>
                <a:gd name="connsiteY29" fmla="*/ 332669 h 2775542"/>
                <a:gd name="connsiteX30" fmla="*/ 0 w 2773132"/>
                <a:gd name="connsiteY30" fmla="*/ 332669 h 2775542"/>
                <a:gd name="connsiteX31" fmla="*/ 0 w 2773132"/>
                <a:gd name="connsiteY31" fmla="*/ 443559 h 2775542"/>
                <a:gd name="connsiteX32" fmla="*/ 0 w 2773132"/>
                <a:gd name="connsiteY32" fmla="*/ 554449 h 2775542"/>
                <a:gd name="connsiteX33" fmla="*/ 0 w 2773132"/>
                <a:gd name="connsiteY33" fmla="*/ 665338 h 2775542"/>
                <a:gd name="connsiteX34" fmla="*/ 0 w 2773132"/>
                <a:gd name="connsiteY34" fmla="*/ 776228 h 2775542"/>
                <a:gd name="connsiteX35" fmla="*/ 0 w 2773132"/>
                <a:gd name="connsiteY35" fmla="*/ 887118 h 2775542"/>
                <a:gd name="connsiteX36" fmla="*/ 0 w 2773132"/>
                <a:gd name="connsiteY36" fmla="*/ 998007 h 2775542"/>
                <a:gd name="connsiteX37" fmla="*/ 0 w 2773132"/>
                <a:gd name="connsiteY37" fmla="*/ 1108897 h 2775542"/>
                <a:gd name="connsiteX38" fmla="*/ 0 w 2773132"/>
                <a:gd name="connsiteY38" fmla="*/ 1221107 h 2775542"/>
                <a:gd name="connsiteX39" fmla="*/ 0 w 2773132"/>
                <a:gd name="connsiteY39" fmla="*/ 1331997 h 2775542"/>
                <a:gd name="connsiteX40" fmla="*/ 0 w 2773132"/>
                <a:gd name="connsiteY40" fmla="*/ 1442886 h 2775542"/>
                <a:gd name="connsiteX41" fmla="*/ 0 w 2773132"/>
                <a:gd name="connsiteY41" fmla="*/ 1553776 h 2775542"/>
                <a:gd name="connsiteX42" fmla="*/ 0 w 2773132"/>
                <a:gd name="connsiteY42" fmla="*/ 1664666 h 2775542"/>
                <a:gd name="connsiteX43" fmla="*/ 0 w 2773132"/>
                <a:gd name="connsiteY43" fmla="*/ 1775555 h 2775542"/>
                <a:gd name="connsiteX44" fmla="*/ 0 w 2773132"/>
                <a:gd name="connsiteY44" fmla="*/ 1886445 h 2775542"/>
                <a:gd name="connsiteX45" fmla="*/ 0 w 2773132"/>
                <a:gd name="connsiteY45" fmla="*/ 1997335 h 2775542"/>
                <a:gd name="connsiteX46" fmla="*/ 0 w 2773132"/>
                <a:gd name="connsiteY46" fmla="*/ 2108225 h 2775542"/>
                <a:gd name="connsiteX47" fmla="*/ 0 w 2773132"/>
                <a:gd name="connsiteY47" fmla="*/ 2219114 h 2775542"/>
                <a:gd name="connsiteX48" fmla="*/ 0 w 2773132"/>
                <a:gd name="connsiteY48" fmla="*/ 2330004 h 2775542"/>
                <a:gd name="connsiteX49" fmla="*/ 0 w 2773132"/>
                <a:gd name="connsiteY49" fmla="*/ 2442214 h 2775542"/>
                <a:gd name="connsiteX50" fmla="*/ 110793 w 2773132"/>
                <a:gd name="connsiteY50" fmla="*/ 2442214 h 2775542"/>
                <a:gd name="connsiteX51" fmla="*/ 110793 w 2773132"/>
                <a:gd name="connsiteY51" fmla="*/ 2553103 h 2775542"/>
                <a:gd name="connsiteX52" fmla="*/ 221587 w 2773132"/>
                <a:gd name="connsiteY52" fmla="*/ 2553103 h 2775542"/>
                <a:gd name="connsiteX53" fmla="*/ 221587 w 2773132"/>
                <a:gd name="connsiteY53" fmla="*/ 2663993 h 2775542"/>
                <a:gd name="connsiteX54" fmla="*/ 332380 w 2773132"/>
                <a:gd name="connsiteY54" fmla="*/ 2663993 h 2775542"/>
                <a:gd name="connsiteX55" fmla="*/ 332380 w 2773132"/>
                <a:gd name="connsiteY55" fmla="*/ 2775543 h 2775542"/>
                <a:gd name="connsiteX56" fmla="*/ 443174 w 2773132"/>
                <a:gd name="connsiteY56" fmla="*/ 2775543 h 2775542"/>
                <a:gd name="connsiteX57" fmla="*/ 553967 w 2773132"/>
                <a:gd name="connsiteY57" fmla="*/ 2775543 h 2775542"/>
                <a:gd name="connsiteX58" fmla="*/ 664760 w 2773132"/>
                <a:gd name="connsiteY58" fmla="*/ 2775543 h 2775542"/>
                <a:gd name="connsiteX59" fmla="*/ 775554 w 2773132"/>
                <a:gd name="connsiteY59" fmla="*/ 2775543 h 2775542"/>
                <a:gd name="connsiteX60" fmla="*/ 886347 w 2773132"/>
                <a:gd name="connsiteY60" fmla="*/ 2775543 h 2775542"/>
                <a:gd name="connsiteX61" fmla="*/ 997140 w 2773132"/>
                <a:gd name="connsiteY61" fmla="*/ 2775543 h 2775542"/>
                <a:gd name="connsiteX62" fmla="*/ 1107934 w 2773132"/>
                <a:gd name="connsiteY62" fmla="*/ 2775543 h 2775542"/>
                <a:gd name="connsiteX63" fmla="*/ 1220046 w 2773132"/>
                <a:gd name="connsiteY63" fmla="*/ 2775543 h 2775542"/>
                <a:gd name="connsiteX64" fmla="*/ 1330840 w 2773132"/>
                <a:gd name="connsiteY64" fmla="*/ 2775543 h 2775542"/>
                <a:gd name="connsiteX65" fmla="*/ 1441633 w 2773132"/>
                <a:gd name="connsiteY65" fmla="*/ 2775543 h 2775542"/>
                <a:gd name="connsiteX66" fmla="*/ 1552426 w 2773132"/>
                <a:gd name="connsiteY66" fmla="*/ 2775543 h 2775542"/>
                <a:gd name="connsiteX67" fmla="*/ 1663220 w 2773132"/>
                <a:gd name="connsiteY67" fmla="*/ 2775543 h 2775542"/>
                <a:gd name="connsiteX68" fmla="*/ 1774013 w 2773132"/>
                <a:gd name="connsiteY68" fmla="*/ 2775543 h 2775542"/>
                <a:gd name="connsiteX69" fmla="*/ 1884806 w 2773132"/>
                <a:gd name="connsiteY69" fmla="*/ 2775543 h 2775542"/>
                <a:gd name="connsiteX70" fmla="*/ 1995600 w 2773132"/>
                <a:gd name="connsiteY70" fmla="*/ 2775543 h 2775542"/>
                <a:gd name="connsiteX71" fmla="*/ 2106393 w 2773132"/>
                <a:gd name="connsiteY71" fmla="*/ 2775543 h 2775542"/>
                <a:gd name="connsiteX72" fmla="*/ 2217187 w 2773132"/>
                <a:gd name="connsiteY72" fmla="*/ 2775543 h 2775542"/>
                <a:gd name="connsiteX73" fmla="*/ 2327980 w 2773132"/>
                <a:gd name="connsiteY73" fmla="*/ 2775543 h 2775542"/>
                <a:gd name="connsiteX74" fmla="*/ 2440092 w 2773132"/>
                <a:gd name="connsiteY74" fmla="*/ 2775543 h 2775542"/>
                <a:gd name="connsiteX75" fmla="*/ 2440092 w 2773132"/>
                <a:gd name="connsiteY75" fmla="*/ 2664653 h 2775542"/>
                <a:gd name="connsiteX76" fmla="*/ 2550886 w 2773132"/>
                <a:gd name="connsiteY76" fmla="*/ 2664653 h 2775542"/>
                <a:gd name="connsiteX77" fmla="*/ 2550886 w 2773132"/>
                <a:gd name="connsiteY77" fmla="*/ 2553764 h 2775542"/>
                <a:gd name="connsiteX78" fmla="*/ 2661679 w 2773132"/>
                <a:gd name="connsiteY78" fmla="*/ 2553764 h 2775542"/>
                <a:gd name="connsiteX79" fmla="*/ 2661679 w 2773132"/>
                <a:gd name="connsiteY79" fmla="*/ 2442214 h 2775542"/>
                <a:gd name="connsiteX80" fmla="*/ 2773132 w 2773132"/>
                <a:gd name="connsiteY80" fmla="*/ 2442214 h 2775542"/>
                <a:gd name="connsiteX81" fmla="*/ 2773132 w 2773132"/>
                <a:gd name="connsiteY81" fmla="*/ 2331324 h 2775542"/>
                <a:gd name="connsiteX82" fmla="*/ 2773132 w 2773132"/>
                <a:gd name="connsiteY82" fmla="*/ 2220434 h 2775542"/>
                <a:gd name="connsiteX83" fmla="*/ 2773132 w 2773132"/>
                <a:gd name="connsiteY83" fmla="*/ 2109545 h 2775542"/>
                <a:gd name="connsiteX84" fmla="*/ 2773132 w 2773132"/>
                <a:gd name="connsiteY84" fmla="*/ 1998655 h 2775542"/>
                <a:gd name="connsiteX85" fmla="*/ 2773132 w 2773132"/>
                <a:gd name="connsiteY85" fmla="*/ 1887765 h 2775542"/>
                <a:gd name="connsiteX86" fmla="*/ 2773132 w 2773132"/>
                <a:gd name="connsiteY86" fmla="*/ 1776876 h 2775542"/>
                <a:gd name="connsiteX87" fmla="*/ 2773132 w 2773132"/>
                <a:gd name="connsiteY87" fmla="*/ 1665986 h 2775542"/>
                <a:gd name="connsiteX88" fmla="*/ 2773132 w 2773132"/>
                <a:gd name="connsiteY88" fmla="*/ 1555096 h 2775542"/>
                <a:gd name="connsiteX89" fmla="*/ 2773132 w 2773132"/>
                <a:gd name="connsiteY89" fmla="*/ 1444206 h 2775542"/>
                <a:gd name="connsiteX90" fmla="*/ 2773132 w 2773132"/>
                <a:gd name="connsiteY90" fmla="*/ 1333317 h 2775542"/>
                <a:gd name="connsiteX91" fmla="*/ 2773132 w 2773132"/>
                <a:gd name="connsiteY91" fmla="*/ 1221107 h 2775542"/>
                <a:gd name="connsiteX92" fmla="*/ 2773132 w 2773132"/>
                <a:gd name="connsiteY92" fmla="*/ 1110217 h 2775542"/>
                <a:gd name="connsiteX93" fmla="*/ 2773132 w 2773132"/>
                <a:gd name="connsiteY93" fmla="*/ 999327 h 2775542"/>
                <a:gd name="connsiteX94" fmla="*/ 2773132 w 2773132"/>
                <a:gd name="connsiteY94" fmla="*/ 888438 h 2775542"/>
                <a:gd name="connsiteX95" fmla="*/ 2773132 w 2773132"/>
                <a:gd name="connsiteY95" fmla="*/ 777548 h 2775542"/>
                <a:gd name="connsiteX96" fmla="*/ 2773132 w 2773132"/>
                <a:gd name="connsiteY96" fmla="*/ 666658 h 2775542"/>
                <a:gd name="connsiteX97" fmla="*/ 2773132 w 2773132"/>
                <a:gd name="connsiteY97" fmla="*/ 555769 h 2775542"/>
                <a:gd name="connsiteX98" fmla="*/ 2773132 w 2773132"/>
                <a:gd name="connsiteY98" fmla="*/ 444879 h 2775542"/>
                <a:gd name="connsiteX99" fmla="*/ 2773132 w 2773132"/>
                <a:gd name="connsiteY99" fmla="*/ 333989 h 2775542"/>
                <a:gd name="connsiteX100" fmla="*/ 2662009 w 2773132"/>
                <a:gd name="connsiteY100" fmla="*/ 333989 h 2775542"/>
                <a:gd name="connsiteX101" fmla="*/ 2218506 w 2773132"/>
                <a:gd name="connsiteY101" fmla="*/ 2220434 h 2775542"/>
                <a:gd name="connsiteX102" fmla="*/ 2107712 w 2773132"/>
                <a:gd name="connsiteY102" fmla="*/ 2220434 h 2775542"/>
                <a:gd name="connsiteX103" fmla="*/ 1996919 w 2773132"/>
                <a:gd name="connsiteY103" fmla="*/ 2220434 h 2775542"/>
                <a:gd name="connsiteX104" fmla="*/ 1996919 w 2773132"/>
                <a:gd name="connsiteY104" fmla="*/ 2109545 h 2775542"/>
                <a:gd name="connsiteX105" fmla="*/ 1996919 w 2773132"/>
                <a:gd name="connsiteY105" fmla="*/ 1998655 h 2775542"/>
                <a:gd name="connsiteX106" fmla="*/ 1996919 w 2773132"/>
                <a:gd name="connsiteY106" fmla="*/ 1887765 h 2775542"/>
                <a:gd name="connsiteX107" fmla="*/ 1996919 w 2773132"/>
                <a:gd name="connsiteY107" fmla="*/ 1776876 h 2775542"/>
                <a:gd name="connsiteX108" fmla="*/ 1996919 w 2773132"/>
                <a:gd name="connsiteY108" fmla="*/ 1665986 h 2775542"/>
                <a:gd name="connsiteX109" fmla="*/ 1996919 w 2773132"/>
                <a:gd name="connsiteY109" fmla="*/ 1555096 h 2775542"/>
                <a:gd name="connsiteX110" fmla="*/ 1886126 w 2773132"/>
                <a:gd name="connsiteY110" fmla="*/ 1555096 h 2775542"/>
                <a:gd name="connsiteX111" fmla="*/ 1886126 w 2773132"/>
                <a:gd name="connsiteY111" fmla="*/ 1444206 h 2775542"/>
                <a:gd name="connsiteX112" fmla="*/ 1775332 w 2773132"/>
                <a:gd name="connsiteY112" fmla="*/ 1444206 h 2775542"/>
                <a:gd name="connsiteX113" fmla="*/ 1664539 w 2773132"/>
                <a:gd name="connsiteY113" fmla="*/ 1444206 h 2775542"/>
                <a:gd name="connsiteX114" fmla="*/ 1664539 w 2773132"/>
                <a:gd name="connsiteY114" fmla="*/ 1555096 h 2775542"/>
                <a:gd name="connsiteX115" fmla="*/ 1553745 w 2773132"/>
                <a:gd name="connsiteY115" fmla="*/ 1555096 h 2775542"/>
                <a:gd name="connsiteX116" fmla="*/ 1553745 w 2773132"/>
                <a:gd name="connsiteY116" fmla="*/ 1665986 h 2775542"/>
                <a:gd name="connsiteX117" fmla="*/ 1553745 w 2773132"/>
                <a:gd name="connsiteY117" fmla="*/ 1776876 h 2775542"/>
                <a:gd name="connsiteX118" fmla="*/ 1553745 w 2773132"/>
                <a:gd name="connsiteY118" fmla="*/ 1887765 h 2775542"/>
                <a:gd name="connsiteX119" fmla="*/ 1553745 w 2773132"/>
                <a:gd name="connsiteY119" fmla="*/ 1998655 h 2775542"/>
                <a:gd name="connsiteX120" fmla="*/ 1553745 w 2773132"/>
                <a:gd name="connsiteY120" fmla="*/ 2109545 h 2775542"/>
                <a:gd name="connsiteX121" fmla="*/ 1553745 w 2773132"/>
                <a:gd name="connsiteY121" fmla="*/ 2220434 h 2775542"/>
                <a:gd name="connsiteX122" fmla="*/ 1442952 w 2773132"/>
                <a:gd name="connsiteY122" fmla="*/ 2220434 h 2775542"/>
                <a:gd name="connsiteX123" fmla="*/ 1332159 w 2773132"/>
                <a:gd name="connsiteY123" fmla="*/ 2220434 h 2775542"/>
                <a:gd name="connsiteX124" fmla="*/ 1220046 w 2773132"/>
                <a:gd name="connsiteY124" fmla="*/ 2220434 h 2775542"/>
                <a:gd name="connsiteX125" fmla="*/ 1220046 w 2773132"/>
                <a:gd name="connsiteY125" fmla="*/ 2109545 h 2775542"/>
                <a:gd name="connsiteX126" fmla="*/ 1220046 w 2773132"/>
                <a:gd name="connsiteY126" fmla="*/ 1998655 h 2775542"/>
                <a:gd name="connsiteX127" fmla="*/ 1220046 w 2773132"/>
                <a:gd name="connsiteY127" fmla="*/ 1887765 h 2775542"/>
                <a:gd name="connsiteX128" fmla="*/ 1220046 w 2773132"/>
                <a:gd name="connsiteY128" fmla="*/ 1776876 h 2775542"/>
                <a:gd name="connsiteX129" fmla="*/ 1220046 w 2773132"/>
                <a:gd name="connsiteY129" fmla="*/ 1665986 h 2775542"/>
                <a:gd name="connsiteX130" fmla="*/ 1220046 w 2773132"/>
                <a:gd name="connsiteY130" fmla="*/ 1555096 h 2775542"/>
                <a:gd name="connsiteX131" fmla="*/ 1220046 w 2773132"/>
                <a:gd name="connsiteY131" fmla="*/ 1444206 h 2775542"/>
                <a:gd name="connsiteX132" fmla="*/ 1220046 w 2773132"/>
                <a:gd name="connsiteY132" fmla="*/ 1333317 h 2775542"/>
                <a:gd name="connsiteX133" fmla="*/ 1220046 w 2773132"/>
                <a:gd name="connsiteY133" fmla="*/ 1221107 h 2775542"/>
                <a:gd name="connsiteX134" fmla="*/ 1330840 w 2773132"/>
                <a:gd name="connsiteY134" fmla="*/ 1221107 h 2775542"/>
                <a:gd name="connsiteX135" fmla="*/ 1441633 w 2773132"/>
                <a:gd name="connsiteY135" fmla="*/ 1221107 h 2775542"/>
                <a:gd name="connsiteX136" fmla="*/ 1552426 w 2773132"/>
                <a:gd name="connsiteY136" fmla="*/ 1221107 h 2775542"/>
                <a:gd name="connsiteX137" fmla="*/ 1552426 w 2773132"/>
                <a:gd name="connsiteY137" fmla="*/ 1331997 h 2775542"/>
                <a:gd name="connsiteX138" fmla="*/ 1663220 w 2773132"/>
                <a:gd name="connsiteY138" fmla="*/ 1331997 h 2775542"/>
                <a:gd name="connsiteX139" fmla="*/ 1663220 w 2773132"/>
                <a:gd name="connsiteY139" fmla="*/ 1221107 h 2775542"/>
                <a:gd name="connsiteX140" fmla="*/ 1774013 w 2773132"/>
                <a:gd name="connsiteY140" fmla="*/ 1221107 h 2775542"/>
                <a:gd name="connsiteX141" fmla="*/ 1884806 w 2773132"/>
                <a:gd name="connsiteY141" fmla="*/ 1221107 h 2775542"/>
                <a:gd name="connsiteX142" fmla="*/ 1995600 w 2773132"/>
                <a:gd name="connsiteY142" fmla="*/ 1221107 h 2775542"/>
                <a:gd name="connsiteX143" fmla="*/ 1995600 w 2773132"/>
                <a:gd name="connsiteY143" fmla="*/ 1331997 h 2775542"/>
                <a:gd name="connsiteX144" fmla="*/ 2106393 w 2773132"/>
                <a:gd name="connsiteY144" fmla="*/ 1331997 h 2775542"/>
                <a:gd name="connsiteX145" fmla="*/ 2106393 w 2773132"/>
                <a:gd name="connsiteY145" fmla="*/ 1442886 h 2775542"/>
                <a:gd name="connsiteX146" fmla="*/ 2217187 w 2773132"/>
                <a:gd name="connsiteY146" fmla="*/ 1442886 h 2775542"/>
                <a:gd name="connsiteX147" fmla="*/ 2217187 w 2773132"/>
                <a:gd name="connsiteY147" fmla="*/ 1553776 h 2775542"/>
                <a:gd name="connsiteX148" fmla="*/ 2217187 w 2773132"/>
                <a:gd name="connsiteY148" fmla="*/ 1664666 h 2775542"/>
                <a:gd name="connsiteX149" fmla="*/ 2217187 w 2773132"/>
                <a:gd name="connsiteY149" fmla="*/ 1775555 h 2775542"/>
                <a:gd name="connsiteX150" fmla="*/ 2217187 w 2773132"/>
                <a:gd name="connsiteY150" fmla="*/ 1886445 h 2775542"/>
                <a:gd name="connsiteX151" fmla="*/ 2217187 w 2773132"/>
                <a:gd name="connsiteY151" fmla="*/ 1997335 h 2775542"/>
                <a:gd name="connsiteX152" fmla="*/ 2217187 w 2773132"/>
                <a:gd name="connsiteY152" fmla="*/ 2108225 h 2775542"/>
                <a:gd name="connsiteX153" fmla="*/ 2217187 w 2773132"/>
                <a:gd name="connsiteY153" fmla="*/ 2220434 h 2775542"/>
                <a:gd name="connsiteX154" fmla="*/ 665420 w 2773132"/>
                <a:gd name="connsiteY154" fmla="*/ 665998 h 2775542"/>
                <a:gd name="connsiteX155" fmla="*/ 776213 w 2773132"/>
                <a:gd name="connsiteY155" fmla="*/ 665998 h 2775542"/>
                <a:gd name="connsiteX156" fmla="*/ 887007 w 2773132"/>
                <a:gd name="connsiteY156" fmla="*/ 665998 h 2775542"/>
                <a:gd name="connsiteX157" fmla="*/ 997800 w 2773132"/>
                <a:gd name="connsiteY157" fmla="*/ 665998 h 2775542"/>
                <a:gd name="connsiteX158" fmla="*/ 997800 w 2773132"/>
                <a:gd name="connsiteY158" fmla="*/ 776888 h 2775542"/>
                <a:gd name="connsiteX159" fmla="*/ 997800 w 2773132"/>
                <a:gd name="connsiteY159" fmla="*/ 887778 h 2775542"/>
                <a:gd name="connsiteX160" fmla="*/ 997800 w 2773132"/>
                <a:gd name="connsiteY160" fmla="*/ 998667 h 2775542"/>
                <a:gd name="connsiteX161" fmla="*/ 887007 w 2773132"/>
                <a:gd name="connsiteY161" fmla="*/ 998667 h 2775542"/>
                <a:gd name="connsiteX162" fmla="*/ 776213 w 2773132"/>
                <a:gd name="connsiteY162" fmla="*/ 998667 h 2775542"/>
                <a:gd name="connsiteX163" fmla="*/ 665420 w 2773132"/>
                <a:gd name="connsiteY163" fmla="*/ 998667 h 2775542"/>
                <a:gd name="connsiteX164" fmla="*/ 665420 w 2773132"/>
                <a:gd name="connsiteY164" fmla="*/ 887778 h 2775542"/>
                <a:gd name="connsiteX165" fmla="*/ 665420 w 2773132"/>
                <a:gd name="connsiteY165" fmla="*/ 776888 h 2775542"/>
                <a:gd name="connsiteX166" fmla="*/ 665420 w 2773132"/>
                <a:gd name="connsiteY166" fmla="*/ 665998 h 2775542"/>
                <a:gd name="connsiteX167" fmla="*/ 665420 w 2773132"/>
                <a:gd name="connsiteY167" fmla="*/ 2109215 h 2775542"/>
                <a:gd name="connsiteX168" fmla="*/ 665420 w 2773132"/>
                <a:gd name="connsiteY168" fmla="*/ 1998325 h 2775542"/>
                <a:gd name="connsiteX169" fmla="*/ 665420 w 2773132"/>
                <a:gd name="connsiteY169" fmla="*/ 1887435 h 2775542"/>
                <a:gd name="connsiteX170" fmla="*/ 665420 w 2773132"/>
                <a:gd name="connsiteY170" fmla="*/ 1776545 h 2775542"/>
                <a:gd name="connsiteX171" fmla="*/ 665420 w 2773132"/>
                <a:gd name="connsiteY171" fmla="*/ 1665656 h 2775542"/>
                <a:gd name="connsiteX172" fmla="*/ 665420 w 2773132"/>
                <a:gd name="connsiteY172" fmla="*/ 1554766 h 2775542"/>
                <a:gd name="connsiteX173" fmla="*/ 665420 w 2773132"/>
                <a:gd name="connsiteY173" fmla="*/ 1443876 h 2775542"/>
                <a:gd name="connsiteX174" fmla="*/ 665420 w 2773132"/>
                <a:gd name="connsiteY174" fmla="*/ 1332987 h 2775542"/>
                <a:gd name="connsiteX175" fmla="*/ 665420 w 2773132"/>
                <a:gd name="connsiteY175" fmla="*/ 1221107 h 2775542"/>
                <a:gd name="connsiteX176" fmla="*/ 776213 w 2773132"/>
                <a:gd name="connsiteY176" fmla="*/ 1221107 h 2775542"/>
                <a:gd name="connsiteX177" fmla="*/ 887007 w 2773132"/>
                <a:gd name="connsiteY177" fmla="*/ 1221107 h 2775542"/>
                <a:gd name="connsiteX178" fmla="*/ 997800 w 2773132"/>
                <a:gd name="connsiteY178" fmla="*/ 1221107 h 2775542"/>
                <a:gd name="connsiteX179" fmla="*/ 997800 w 2773132"/>
                <a:gd name="connsiteY179" fmla="*/ 1331997 h 2775542"/>
                <a:gd name="connsiteX180" fmla="*/ 997800 w 2773132"/>
                <a:gd name="connsiteY180" fmla="*/ 1442886 h 2775542"/>
                <a:gd name="connsiteX181" fmla="*/ 997800 w 2773132"/>
                <a:gd name="connsiteY181" fmla="*/ 1553776 h 2775542"/>
                <a:gd name="connsiteX182" fmla="*/ 997800 w 2773132"/>
                <a:gd name="connsiteY182" fmla="*/ 1664666 h 2775542"/>
                <a:gd name="connsiteX183" fmla="*/ 997800 w 2773132"/>
                <a:gd name="connsiteY183" fmla="*/ 1775555 h 2775542"/>
                <a:gd name="connsiteX184" fmla="*/ 997800 w 2773132"/>
                <a:gd name="connsiteY184" fmla="*/ 1886445 h 2775542"/>
                <a:gd name="connsiteX185" fmla="*/ 997800 w 2773132"/>
                <a:gd name="connsiteY185" fmla="*/ 1997335 h 2775542"/>
                <a:gd name="connsiteX186" fmla="*/ 997800 w 2773132"/>
                <a:gd name="connsiteY186" fmla="*/ 2108225 h 2775542"/>
                <a:gd name="connsiteX187" fmla="*/ 997800 w 2773132"/>
                <a:gd name="connsiteY187" fmla="*/ 2219114 h 2775542"/>
                <a:gd name="connsiteX188" fmla="*/ 887007 w 2773132"/>
                <a:gd name="connsiteY188" fmla="*/ 2219114 h 2775542"/>
                <a:gd name="connsiteX189" fmla="*/ 776213 w 2773132"/>
                <a:gd name="connsiteY189" fmla="*/ 2219114 h 2775542"/>
                <a:gd name="connsiteX190" fmla="*/ 665420 w 2773132"/>
                <a:gd name="connsiteY190" fmla="*/ 2219114 h 2775542"/>
                <a:gd name="connsiteX191" fmla="*/ 665420 w 2773132"/>
                <a:gd name="connsiteY191" fmla="*/ 2109215 h 277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</a:cxnLst>
              <a:rect l="l" t="t" r="r" b="b"/>
              <a:pathLst>
                <a:path w="2773132" h="2775542">
                  <a:moveTo>
                    <a:pt x="2662009" y="332999"/>
                  </a:moveTo>
                  <a:lnTo>
                    <a:pt x="2662009" y="222109"/>
                  </a:lnTo>
                  <a:lnTo>
                    <a:pt x="2551216" y="222109"/>
                  </a:lnTo>
                  <a:lnTo>
                    <a:pt x="2551216" y="110890"/>
                  </a:lnTo>
                  <a:lnTo>
                    <a:pt x="2440092" y="110890"/>
                  </a:lnTo>
                  <a:lnTo>
                    <a:pt x="2440092" y="0"/>
                  </a:lnTo>
                  <a:lnTo>
                    <a:pt x="2329299" y="0"/>
                  </a:lnTo>
                  <a:lnTo>
                    <a:pt x="2218506" y="0"/>
                  </a:lnTo>
                  <a:lnTo>
                    <a:pt x="2107712" y="0"/>
                  </a:lnTo>
                  <a:lnTo>
                    <a:pt x="1996919" y="0"/>
                  </a:lnTo>
                  <a:lnTo>
                    <a:pt x="1886126" y="0"/>
                  </a:lnTo>
                  <a:lnTo>
                    <a:pt x="1775332" y="0"/>
                  </a:lnTo>
                  <a:lnTo>
                    <a:pt x="1664539" y="0"/>
                  </a:lnTo>
                  <a:lnTo>
                    <a:pt x="1553745" y="0"/>
                  </a:lnTo>
                  <a:lnTo>
                    <a:pt x="1442952" y="0"/>
                  </a:lnTo>
                  <a:lnTo>
                    <a:pt x="1332159" y="0"/>
                  </a:ln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666" y="0"/>
                  </a:lnTo>
                  <a:lnTo>
                    <a:pt x="776873" y="0"/>
                  </a:lnTo>
                  <a:lnTo>
                    <a:pt x="666079" y="0"/>
                  </a:lnTo>
                  <a:lnTo>
                    <a:pt x="555286" y="0"/>
                  </a:lnTo>
                  <a:lnTo>
                    <a:pt x="444493" y="0"/>
                  </a:lnTo>
                  <a:lnTo>
                    <a:pt x="333699" y="0"/>
                  </a:lnTo>
                  <a:lnTo>
                    <a:pt x="333699" y="110890"/>
                  </a:lnTo>
                  <a:lnTo>
                    <a:pt x="221917" y="110890"/>
                  </a:lnTo>
                  <a:lnTo>
                    <a:pt x="221917" y="221779"/>
                  </a:lnTo>
                  <a:lnTo>
                    <a:pt x="110793" y="221779"/>
                  </a:lnTo>
                  <a:lnTo>
                    <a:pt x="110793" y="332669"/>
                  </a:lnTo>
                  <a:lnTo>
                    <a:pt x="0" y="332669"/>
                  </a:lnTo>
                  <a:lnTo>
                    <a:pt x="0" y="443559"/>
                  </a:lnTo>
                  <a:lnTo>
                    <a:pt x="0" y="554449"/>
                  </a:lnTo>
                  <a:lnTo>
                    <a:pt x="0" y="665338"/>
                  </a:lnTo>
                  <a:lnTo>
                    <a:pt x="0" y="776228"/>
                  </a:lnTo>
                  <a:lnTo>
                    <a:pt x="0" y="887118"/>
                  </a:lnTo>
                  <a:lnTo>
                    <a:pt x="0" y="998007"/>
                  </a:lnTo>
                  <a:lnTo>
                    <a:pt x="0" y="1108897"/>
                  </a:lnTo>
                  <a:lnTo>
                    <a:pt x="0" y="1221107"/>
                  </a:lnTo>
                  <a:lnTo>
                    <a:pt x="0" y="1331997"/>
                  </a:lnTo>
                  <a:lnTo>
                    <a:pt x="0" y="1442886"/>
                  </a:lnTo>
                  <a:lnTo>
                    <a:pt x="0" y="1553776"/>
                  </a:lnTo>
                  <a:lnTo>
                    <a:pt x="0" y="1664666"/>
                  </a:lnTo>
                  <a:lnTo>
                    <a:pt x="0" y="1775555"/>
                  </a:lnTo>
                  <a:lnTo>
                    <a:pt x="0" y="1886445"/>
                  </a:lnTo>
                  <a:lnTo>
                    <a:pt x="0" y="1997335"/>
                  </a:lnTo>
                  <a:lnTo>
                    <a:pt x="0" y="2108225"/>
                  </a:lnTo>
                  <a:lnTo>
                    <a:pt x="0" y="2219114"/>
                  </a:lnTo>
                  <a:lnTo>
                    <a:pt x="0" y="2330004"/>
                  </a:lnTo>
                  <a:lnTo>
                    <a:pt x="0" y="2442214"/>
                  </a:lnTo>
                  <a:lnTo>
                    <a:pt x="110793" y="2442214"/>
                  </a:lnTo>
                  <a:lnTo>
                    <a:pt x="110793" y="2553103"/>
                  </a:lnTo>
                  <a:lnTo>
                    <a:pt x="221587" y="2553103"/>
                  </a:lnTo>
                  <a:lnTo>
                    <a:pt x="221587" y="2663993"/>
                  </a:lnTo>
                  <a:lnTo>
                    <a:pt x="332380" y="2663993"/>
                  </a:lnTo>
                  <a:lnTo>
                    <a:pt x="332380" y="2775543"/>
                  </a:lnTo>
                  <a:lnTo>
                    <a:pt x="443174" y="2775543"/>
                  </a:lnTo>
                  <a:lnTo>
                    <a:pt x="553967" y="2775543"/>
                  </a:lnTo>
                  <a:lnTo>
                    <a:pt x="664760" y="2775543"/>
                  </a:lnTo>
                  <a:lnTo>
                    <a:pt x="775554" y="2775543"/>
                  </a:lnTo>
                  <a:lnTo>
                    <a:pt x="886347" y="2775543"/>
                  </a:lnTo>
                  <a:lnTo>
                    <a:pt x="997140" y="2775543"/>
                  </a:lnTo>
                  <a:lnTo>
                    <a:pt x="1107934" y="2775543"/>
                  </a:lnTo>
                  <a:lnTo>
                    <a:pt x="1220046" y="2775543"/>
                  </a:lnTo>
                  <a:lnTo>
                    <a:pt x="1330840" y="2775543"/>
                  </a:lnTo>
                  <a:lnTo>
                    <a:pt x="1441633" y="2775543"/>
                  </a:lnTo>
                  <a:lnTo>
                    <a:pt x="1552426" y="2775543"/>
                  </a:lnTo>
                  <a:lnTo>
                    <a:pt x="1663220" y="2775543"/>
                  </a:lnTo>
                  <a:lnTo>
                    <a:pt x="1774013" y="2775543"/>
                  </a:lnTo>
                  <a:lnTo>
                    <a:pt x="1884806" y="2775543"/>
                  </a:lnTo>
                  <a:lnTo>
                    <a:pt x="1995600" y="2775543"/>
                  </a:lnTo>
                  <a:lnTo>
                    <a:pt x="2106393" y="2775543"/>
                  </a:lnTo>
                  <a:lnTo>
                    <a:pt x="2217187" y="2775543"/>
                  </a:lnTo>
                  <a:lnTo>
                    <a:pt x="2327980" y="2775543"/>
                  </a:lnTo>
                  <a:lnTo>
                    <a:pt x="2440092" y="2775543"/>
                  </a:lnTo>
                  <a:lnTo>
                    <a:pt x="2440092" y="2664653"/>
                  </a:lnTo>
                  <a:lnTo>
                    <a:pt x="2550886" y="2664653"/>
                  </a:lnTo>
                  <a:lnTo>
                    <a:pt x="2550886" y="2553764"/>
                  </a:lnTo>
                  <a:lnTo>
                    <a:pt x="2661679" y="2553764"/>
                  </a:lnTo>
                  <a:lnTo>
                    <a:pt x="2661679" y="2442214"/>
                  </a:lnTo>
                  <a:lnTo>
                    <a:pt x="2773132" y="2442214"/>
                  </a:lnTo>
                  <a:lnTo>
                    <a:pt x="2773132" y="2331324"/>
                  </a:lnTo>
                  <a:lnTo>
                    <a:pt x="2773132" y="2220434"/>
                  </a:lnTo>
                  <a:lnTo>
                    <a:pt x="2773132" y="2109545"/>
                  </a:lnTo>
                  <a:lnTo>
                    <a:pt x="2773132" y="1998655"/>
                  </a:lnTo>
                  <a:lnTo>
                    <a:pt x="2773132" y="1887765"/>
                  </a:lnTo>
                  <a:lnTo>
                    <a:pt x="2773132" y="1776876"/>
                  </a:lnTo>
                  <a:lnTo>
                    <a:pt x="2773132" y="1665986"/>
                  </a:lnTo>
                  <a:lnTo>
                    <a:pt x="2773132" y="1555096"/>
                  </a:lnTo>
                  <a:lnTo>
                    <a:pt x="2773132" y="1444206"/>
                  </a:lnTo>
                  <a:lnTo>
                    <a:pt x="2773132" y="1333317"/>
                  </a:lnTo>
                  <a:lnTo>
                    <a:pt x="2773132" y="1221107"/>
                  </a:lnTo>
                  <a:lnTo>
                    <a:pt x="2773132" y="1110217"/>
                  </a:lnTo>
                  <a:lnTo>
                    <a:pt x="2773132" y="999327"/>
                  </a:lnTo>
                  <a:lnTo>
                    <a:pt x="2773132" y="888438"/>
                  </a:lnTo>
                  <a:lnTo>
                    <a:pt x="2773132" y="777548"/>
                  </a:lnTo>
                  <a:lnTo>
                    <a:pt x="2773132" y="666658"/>
                  </a:lnTo>
                  <a:lnTo>
                    <a:pt x="2773132" y="555769"/>
                  </a:lnTo>
                  <a:lnTo>
                    <a:pt x="2773132" y="444879"/>
                  </a:lnTo>
                  <a:lnTo>
                    <a:pt x="2773132" y="333989"/>
                  </a:lnTo>
                  <a:lnTo>
                    <a:pt x="2662009" y="333989"/>
                  </a:lnTo>
                  <a:close/>
                  <a:moveTo>
                    <a:pt x="2218506" y="2220434"/>
                  </a:moveTo>
                  <a:lnTo>
                    <a:pt x="2107712" y="2220434"/>
                  </a:lnTo>
                  <a:lnTo>
                    <a:pt x="1996919" y="2220434"/>
                  </a:lnTo>
                  <a:lnTo>
                    <a:pt x="1996919" y="2109545"/>
                  </a:lnTo>
                  <a:lnTo>
                    <a:pt x="1996919" y="1998655"/>
                  </a:lnTo>
                  <a:lnTo>
                    <a:pt x="1996919" y="1887765"/>
                  </a:lnTo>
                  <a:lnTo>
                    <a:pt x="1996919" y="1776876"/>
                  </a:lnTo>
                  <a:lnTo>
                    <a:pt x="1996919" y="1665986"/>
                  </a:lnTo>
                  <a:lnTo>
                    <a:pt x="1996919" y="1555096"/>
                  </a:lnTo>
                  <a:lnTo>
                    <a:pt x="1886126" y="1555096"/>
                  </a:lnTo>
                  <a:lnTo>
                    <a:pt x="1886126" y="1444206"/>
                  </a:lnTo>
                  <a:lnTo>
                    <a:pt x="1775332" y="1444206"/>
                  </a:lnTo>
                  <a:lnTo>
                    <a:pt x="1664539" y="1444206"/>
                  </a:lnTo>
                  <a:lnTo>
                    <a:pt x="1664539" y="1555096"/>
                  </a:lnTo>
                  <a:lnTo>
                    <a:pt x="1553745" y="1555096"/>
                  </a:lnTo>
                  <a:lnTo>
                    <a:pt x="1553745" y="1665986"/>
                  </a:lnTo>
                  <a:lnTo>
                    <a:pt x="1553745" y="1776876"/>
                  </a:lnTo>
                  <a:lnTo>
                    <a:pt x="1553745" y="1887765"/>
                  </a:lnTo>
                  <a:lnTo>
                    <a:pt x="1553745" y="1998655"/>
                  </a:lnTo>
                  <a:lnTo>
                    <a:pt x="1553745" y="2109545"/>
                  </a:lnTo>
                  <a:lnTo>
                    <a:pt x="1553745" y="2220434"/>
                  </a:lnTo>
                  <a:lnTo>
                    <a:pt x="1442952" y="2220434"/>
                  </a:lnTo>
                  <a:lnTo>
                    <a:pt x="1332159" y="2220434"/>
                  </a:lnTo>
                  <a:lnTo>
                    <a:pt x="1220046" y="2220434"/>
                  </a:lnTo>
                  <a:lnTo>
                    <a:pt x="1220046" y="2109545"/>
                  </a:lnTo>
                  <a:lnTo>
                    <a:pt x="1220046" y="1998655"/>
                  </a:lnTo>
                  <a:lnTo>
                    <a:pt x="1220046" y="1887765"/>
                  </a:lnTo>
                  <a:lnTo>
                    <a:pt x="1220046" y="1776876"/>
                  </a:lnTo>
                  <a:lnTo>
                    <a:pt x="1220046" y="1665986"/>
                  </a:lnTo>
                  <a:lnTo>
                    <a:pt x="1220046" y="1555096"/>
                  </a:lnTo>
                  <a:lnTo>
                    <a:pt x="1220046" y="1444206"/>
                  </a:lnTo>
                  <a:lnTo>
                    <a:pt x="1220046" y="1333317"/>
                  </a:lnTo>
                  <a:lnTo>
                    <a:pt x="1220046" y="1221107"/>
                  </a:lnTo>
                  <a:lnTo>
                    <a:pt x="1330840" y="1221107"/>
                  </a:lnTo>
                  <a:lnTo>
                    <a:pt x="1441633" y="1221107"/>
                  </a:lnTo>
                  <a:lnTo>
                    <a:pt x="1552426" y="1221107"/>
                  </a:lnTo>
                  <a:lnTo>
                    <a:pt x="1552426" y="1331997"/>
                  </a:lnTo>
                  <a:lnTo>
                    <a:pt x="1663220" y="1331997"/>
                  </a:lnTo>
                  <a:lnTo>
                    <a:pt x="1663220" y="1221107"/>
                  </a:lnTo>
                  <a:lnTo>
                    <a:pt x="1774013" y="1221107"/>
                  </a:lnTo>
                  <a:lnTo>
                    <a:pt x="1884806" y="1221107"/>
                  </a:lnTo>
                  <a:lnTo>
                    <a:pt x="1995600" y="1221107"/>
                  </a:lnTo>
                  <a:lnTo>
                    <a:pt x="1995600" y="1331997"/>
                  </a:lnTo>
                  <a:lnTo>
                    <a:pt x="2106393" y="1331997"/>
                  </a:lnTo>
                  <a:lnTo>
                    <a:pt x="2106393" y="1442886"/>
                  </a:lnTo>
                  <a:lnTo>
                    <a:pt x="2217187" y="1442886"/>
                  </a:lnTo>
                  <a:lnTo>
                    <a:pt x="2217187" y="1553776"/>
                  </a:lnTo>
                  <a:lnTo>
                    <a:pt x="2217187" y="1664666"/>
                  </a:lnTo>
                  <a:lnTo>
                    <a:pt x="2217187" y="1775555"/>
                  </a:lnTo>
                  <a:lnTo>
                    <a:pt x="2217187" y="1886445"/>
                  </a:lnTo>
                  <a:lnTo>
                    <a:pt x="2217187" y="1997335"/>
                  </a:lnTo>
                  <a:lnTo>
                    <a:pt x="2217187" y="2108225"/>
                  </a:lnTo>
                  <a:lnTo>
                    <a:pt x="2217187" y="2220434"/>
                  </a:lnTo>
                  <a:close/>
                  <a:moveTo>
                    <a:pt x="665420" y="665998"/>
                  </a:moveTo>
                  <a:lnTo>
                    <a:pt x="776213" y="665998"/>
                  </a:lnTo>
                  <a:lnTo>
                    <a:pt x="887007" y="665998"/>
                  </a:lnTo>
                  <a:lnTo>
                    <a:pt x="997800" y="665998"/>
                  </a:lnTo>
                  <a:lnTo>
                    <a:pt x="997800" y="776888"/>
                  </a:lnTo>
                  <a:lnTo>
                    <a:pt x="997800" y="887778"/>
                  </a:lnTo>
                  <a:lnTo>
                    <a:pt x="997800" y="998667"/>
                  </a:lnTo>
                  <a:lnTo>
                    <a:pt x="887007" y="998667"/>
                  </a:lnTo>
                  <a:lnTo>
                    <a:pt x="776213" y="998667"/>
                  </a:lnTo>
                  <a:lnTo>
                    <a:pt x="665420" y="998667"/>
                  </a:lnTo>
                  <a:lnTo>
                    <a:pt x="665420" y="887778"/>
                  </a:lnTo>
                  <a:lnTo>
                    <a:pt x="665420" y="776888"/>
                  </a:lnTo>
                  <a:lnTo>
                    <a:pt x="665420" y="665998"/>
                  </a:lnTo>
                  <a:close/>
                  <a:moveTo>
                    <a:pt x="665420" y="2109215"/>
                  </a:moveTo>
                  <a:lnTo>
                    <a:pt x="665420" y="1998325"/>
                  </a:lnTo>
                  <a:lnTo>
                    <a:pt x="665420" y="1887435"/>
                  </a:lnTo>
                  <a:lnTo>
                    <a:pt x="665420" y="1776545"/>
                  </a:lnTo>
                  <a:lnTo>
                    <a:pt x="665420" y="1665656"/>
                  </a:lnTo>
                  <a:lnTo>
                    <a:pt x="665420" y="1554766"/>
                  </a:lnTo>
                  <a:lnTo>
                    <a:pt x="665420" y="1443876"/>
                  </a:lnTo>
                  <a:lnTo>
                    <a:pt x="665420" y="1332987"/>
                  </a:lnTo>
                  <a:lnTo>
                    <a:pt x="665420" y="1221107"/>
                  </a:lnTo>
                  <a:lnTo>
                    <a:pt x="776213" y="1221107"/>
                  </a:lnTo>
                  <a:lnTo>
                    <a:pt x="887007" y="1221107"/>
                  </a:lnTo>
                  <a:lnTo>
                    <a:pt x="997800" y="1221107"/>
                  </a:lnTo>
                  <a:lnTo>
                    <a:pt x="997800" y="1331997"/>
                  </a:lnTo>
                  <a:lnTo>
                    <a:pt x="997800" y="1442886"/>
                  </a:lnTo>
                  <a:lnTo>
                    <a:pt x="997800" y="1553776"/>
                  </a:lnTo>
                  <a:lnTo>
                    <a:pt x="997800" y="1664666"/>
                  </a:lnTo>
                  <a:lnTo>
                    <a:pt x="997800" y="1775555"/>
                  </a:lnTo>
                  <a:lnTo>
                    <a:pt x="997800" y="1886445"/>
                  </a:lnTo>
                  <a:lnTo>
                    <a:pt x="997800" y="1997335"/>
                  </a:lnTo>
                  <a:lnTo>
                    <a:pt x="997800" y="2108225"/>
                  </a:lnTo>
                  <a:lnTo>
                    <a:pt x="997800" y="2219114"/>
                  </a:lnTo>
                  <a:lnTo>
                    <a:pt x="887007" y="2219114"/>
                  </a:lnTo>
                  <a:lnTo>
                    <a:pt x="776213" y="2219114"/>
                  </a:lnTo>
                  <a:lnTo>
                    <a:pt x="665420" y="2219114"/>
                  </a:lnTo>
                  <a:lnTo>
                    <a:pt x="665420" y="2109215"/>
                  </a:lnTo>
                  <a:close/>
                </a:path>
              </a:pathLst>
            </a:custGeom>
            <a:solidFill>
              <a:srgbClr val="231F20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grpSp>
        <p:nvGrpSpPr>
          <p:cNvPr id="36" name="Graphic 34">
            <a:extLst>
              <a:ext uri="{FF2B5EF4-FFF2-40B4-BE49-F238E27FC236}">
                <a16:creationId xmlns:a16="http://schemas.microsoft.com/office/drawing/2014/main" id="{DA2B7C11-5FC4-B047-5F69-D2B8B392910C}"/>
              </a:ext>
            </a:extLst>
          </p:cNvPr>
          <p:cNvGrpSpPr/>
          <p:nvPr/>
        </p:nvGrpSpPr>
        <p:grpSpPr>
          <a:xfrm>
            <a:off x="993702" y="4678861"/>
            <a:ext cx="671487" cy="671487"/>
            <a:chOff x="-3816001" y="3357146"/>
            <a:chExt cx="849600" cy="849600"/>
          </a:xfrm>
        </p:grpSpPr>
        <p:grpSp>
          <p:nvGrpSpPr>
            <p:cNvPr id="37" name="Graphic 34">
              <a:extLst>
                <a:ext uri="{FF2B5EF4-FFF2-40B4-BE49-F238E27FC236}">
                  <a16:creationId xmlns:a16="http://schemas.microsoft.com/office/drawing/2014/main" id="{41A58DF9-1E67-C2A6-7F25-D984EFFB5FFF}"/>
                </a:ext>
              </a:extLst>
            </p:cNvPr>
            <p:cNvGrpSpPr/>
            <p:nvPr/>
          </p:nvGrpSpPr>
          <p:grpSpPr>
            <a:xfrm>
              <a:off x="-3646081" y="3527369"/>
              <a:ext cx="543299" cy="543299"/>
              <a:chOff x="-3646081" y="3527369"/>
              <a:chExt cx="543299" cy="543299"/>
            </a:xfrm>
            <a:solidFill>
              <a:srgbClr val="00FF00"/>
            </a:solidFill>
          </p:grpSpPr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4EED6AFA-CDA9-C17F-4244-C2D58EE6E060}"/>
                  </a:ext>
                </a:extLst>
              </p:cNvPr>
              <p:cNvSpPr/>
              <p:nvPr/>
            </p:nvSpPr>
            <p:spPr>
              <a:xfrm>
                <a:off x="-3612036" y="3527369"/>
                <a:ext cx="509254" cy="543299"/>
              </a:xfrm>
              <a:custGeom>
                <a:avLst/>
                <a:gdLst>
                  <a:gd name="connsiteX0" fmla="*/ 475715 w 509254"/>
                  <a:gd name="connsiteY0" fmla="*/ 271549 h 543299"/>
                  <a:gd name="connsiteX1" fmla="*/ 475715 w 509254"/>
                  <a:gd name="connsiteY1" fmla="*/ 237605 h 543299"/>
                  <a:gd name="connsiteX2" fmla="*/ 441772 w 509254"/>
                  <a:gd name="connsiteY2" fmla="*/ 237605 h 543299"/>
                  <a:gd name="connsiteX3" fmla="*/ 407828 w 509254"/>
                  <a:gd name="connsiteY3" fmla="*/ 237605 h 543299"/>
                  <a:gd name="connsiteX4" fmla="*/ 374390 w 509254"/>
                  <a:gd name="connsiteY4" fmla="*/ 237605 h 543299"/>
                  <a:gd name="connsiteX5" fmla="*/ 374390 w 509254"/>
                  <a:gd name="connsiteY5" fmla="*/ 204167 h 543299"/>
                  <a:gd name="connsiteX6" fmla="*/ 374390 w 509254"/>
                  <a:gd name="connsiteY6" fmla="*/ 170223 h 543299"/>
                  <a:gd name="connsiteX7" fmla="*/ 374390 w 509254"/>
                  <a:gd name="connsiteY7" fmla="*/ 169718 h 543299"/>
                  <a:gd name="connsiteX8" fmla="*/ 407828 w 509254"/>
                  <a:gd name="connsiteY8" fmla="*/ 169718 h 543299"/>
                  <a:gd name="connsiteX9" fmla="*/ 407828 w 509254"/>
                  <a:gd name="connsiteY9" fmla="*/ 135774 h 543299"/>
                  <a:gd name="connsiteX10" fmla="*/ 407828 w 509254"/>
                  <a:gd name="connsiteY10" fmla="*/ 101831 h 543299"/>
                  <a:gd name="connsiteX11" fmla="*/ 374289 w 509254"/>
                  <a:gd name="connsiteY11" fmla="*/ 101831 h 543299"/>
                  <a:gd name="connsiteX12" fmla="*/ 373784 w 509254"/>
                  <a:gd name="connsiteY12" fmla="*/ 67887 h 543299"/>
                  <a:gd name="connsiteX13" fmla="*/ 339840 w 509254"/>
                  <a:gd name="connsiteY13" fmla="*/ 67887 h 543299"/>
                  <a:gd name="connsiteX14" fmla="*/ 339840 w 509254"/>
                  <a:gd name="connsiteY14" fmla="*/ 33944 h 543299"/>
                  <a:gd name="connsiteX15" fmla="*/ 305896 w 509254"/>
                  <a:gd name="connsiteY15" fmla="*/ 33944 h 543299"/>
                  <a:gd name="connsiteX16" fmla="*/ 305896 w 509254"/>
                  <a:gd name="connsiteY16" fmla="*/ 0 h 543299"/>
                  <a:gd name="connsiteX17" fmla="*/ 271953 w 509254"/>
                  <a:gd name="connsiteY17" fmla="*/ 0 h 543299"/>
                  <a:gd name="connsiteX18" fmla="*/ 238009 w 509254"/>
                  <a:gd name="connsiteY18" fmla="*/ 0 h 543299"/>
                  <a:gd name="connsiteX19" fmla="*/ 204066 w 509254"/>
                  <a:gd name="connsiteY19" fmla="*/ 0 h 543299"/>
                  <a:gd name="connsiteX20" fmla="*/ 169819 w 509254"/>
                  <a:gd name="connsiteY20" fmla="*/ 0 h 543299"/>
                  <a:gd name="connsiteX21" fmla="*/ 135875 w 509254"/>
                  <a:gd name="connsiteY21" fmla="*/ 0 h 543299"/>
                  <a:gd name="connsiteX22" fmla="*/ 101932 w 509254"/>
                  <a:gd name="connsiteY22" fmla="*/ 0 h 543299"/>
                  <a:gd name="connsiteX23" fmla="*/ 67988 w 509254"/>
                  <a:gd name="connsiteY23" fmla="*/ 0 h 543299"/>
                  <a:gd name="connsiteX24" fmla="*/ 34045 w 509254"/>
                  <a:gd name="connsiteY24" fmla="*/ 0 h 543299"/>
                  <a:gd name="connsiteX25" fmla="*/ 34045 w 509254"/>
                  <a:gd name="connsiteY25" fmla="*/ 33944 h 543299"/>
                  <a:gd name="connsiteX26" fmla="*/ 34550 w 509254"/>
                  <a:gd name="connsiteY26" fmla="*/ 33944 h 543299"/>
                  <a:gd name="connsiteX27" fmla="*/ 34550 w 509254"/>
                  <a:gd name="connsiteY27" fmla="*/ 67180 h 543299"/>
                  <a:gd name="connsiteX28" fmla="*/ 34550 w 509254"/>
                  <a:gd name="connsiteY28" fmla="*/ 101124 h 543299"/>
                  <a:gd name="connsiteX29" fmla="*/ 34045 w 509254"/>
                  <a:gd name="connsiteY29" fmla="*/ 101124 h 543299"/>
                  <a:gd name="connsiteX30" fmla="*/ 34449 w 509254"/>
                  <a:gd name="connsiteY30" fmla="*/ 67180 h 543299"/>
                  <a:gd name="connsiteX31" fmla="*/ 33944 w 509254"/>
                  <a:gd name="connsiteY31" fmla="*/ 67180 h 543299"/>
                  <a:gd name="connsiteX32" fmla="*/ 33944 w 509254"/>
                  <a:gd name="connsiteY32" fmla="*/ 33742 h 543299"/>
                  <a:gd name="connsiteX33" fmla="*/ 0 w 509254"/>
                  <a:gd name="connsiteY33" fmla="*/ 33742 h 543299"/>
                  <a:gd name="connsiteX34" fmla="*/ 0 w 509254"/>
                  <a:gd name="connsiteY34" fmla="*/ 67685 h 543299"/>
                  <a:gd name="connsiteX35" fmla="*/ 505 w 509254"/>
                  <a:gd name="connsiteY35" fmla="*/ 67685 h 543299"/>
                  <a:gd name="connsiteX36" fmla="*/ 505 w 509254"/>
                  <a:gd name="connsiteY36" fmla="*/ 101124 h 543299"/>
                  <a:gd name="connsiteX37" fmla="*/ 505 w 509254"/>
                  <a:gd name="connsiteY37" fmla="*/ 135067 h 543299"/>
                  <a:gd name="connsiteX38" fmla="*/ 505 w 509254"/>
                  <a:gd name="connsiteY38" fmla="*/ 169011 h 543299"/>
                  <a:gd name="connsiteX39" fmla="*/ 505 w 509254"/>
                  <a:gd name="connsiteY39" fmla="*/ 202954 h 543299"/>
                  <a:gd name="connsiteX40" fmla="*/ 505 w 509254"/>
                  <a:gd name="connsiteY40" fmla="*/ 236898 h 543299"/>
                  <a:gd name="connsiteX41" fmla="*/ 505 w 509254"/>
                  <a:gd name="connsiteY41" fmla="*/ 270842 h 543299"/>
                  <a:gd name="connsiteX42" fmla="*/ 505 w 509254"/>
                  <a:gd name="connsiteY42" fmla="*/ 304785 h 543299"/>
                  <a:gd name="connsiteX43" fmla="*/ 34449 w 509254"/>
                  <a:gd name="connsiteY43" fmla="*/ 304785 h 543299"/>
                  <a:gd name="connsiteX44" fmla="*/ 34449 w 509254"/>
                  <a:gd name="connsiteY44" fmla="*/ 338729 h 543299"/>
                  <a:gd name="connsiteX45" fmla="*/ 33944 w 509254"/>
                  <a:gd name="connsiteY45" fmla="*/ 338729 h 543299"/>
                  <a:gd name="connsiteX46" fmla="*/ 33944 w 509254"/>
                  <a:gd name="connsiteY46" fmla="*/ 305290 h 543299"/>
                  <a:gd name="connsiteX47" fmla="*/ 505 w 509254"/>
                  <a:gd name="connsiteY47" fmla="*/ 304785 h 543299"/>
                  <a:gd name="connsiteX48" fmla="*/ 505 w 509254"/>
                  <a:gd name="connsiteY48" fmla="*/ 338729 h 543299"/>
                  <a:gd name="connsiteX49" fmla="*/ 505 w 509254"/>
                  <a:gd name="connsiteY49" fmla="*/ 372672 h 543299"/>
                  <a:gd name="connsiteX50" fmla="*/ 505 w 509254"/>
                  <a:gd name="connsiteY50" fmla="*/ 406616 h 543299"/>
                  <a:gd name="connsiteX51" fmla="*/ 505 w 509254"/>
                  <a:gd name="connsiteY51" fmla="*/ 440964 h 543299"/>
                  <a:gd name="connsiteX52" fmla="*/ 33944 w 509254"/>
                  <a:gd name="connsiteY52" fmla="*/ 440964 h 543299"/>
                  <a:gd name="connsiteX53" fmla="*/ 33944 w 509254"/>
                  <a:gd name="connsiteY53" fmla="*/ 441469 h 543299"/>
                  <a:gd name="connsiteX54" fmla="*/ 0 w 509254"/>
                  <a:gd name="connsiteY54" fmla="*/ 441469 h 543299"/>
                  <a:gd name="connsiteX55" fmla="*/ 0 w 509254"/>
                  <a:gd name="connsiteY55" fmla="*/ 475412 h 543299"/>
                  <a:gd name="connsiteX56" fmla="*/ 33944 w 509254"/>
                  <a:gd name="connsiteY56" fmla="*/ 475412 h 543299"/>
                  <a:gd name="connsiteX57" fmla="*/ 33944 w 509254"/>
                  <a:gd name="connsiteY57" fmla="*/ 509356 h 543299"/>
                  <a:gd name="connsiteX58" fmla="*/ 67887 w 509254"/>
                  <a:gd name="connsiteY58" fmla="*/ 509356 h 543299"/>
                  <a:gd name="connsiteX59" fmla="*/ 67887 w 509254"/>
                  <a:gd name="connsiteY59" fmla="*/ 543300 h 543299"/>
                  <a:gd name="connsiteX60" fmla="*/ 101831 w 509254"/>
                  <a:gd name="connsiteY60" fmla="*/ 543300 h 543299"/>
                  <a:gd name="connsiteX61" fmla="*/ 135774 w 509254"/>
                  <a:gd name="connsiteY61" fmla="*/ 543300 h 543299"/>
                  <a:gd name="connsiteX62" fmla="*/ 169819 w 509254"/>
                  <a:gd name="connsiteY62" fmla="*/ 543300 h 543299"/>
                  <a:gd name="connsiteX63" fmla="*/ 203763 w 509254"/>
                  <a:gd name="connsiteY63" fmla="*/ 543300 h 543299"/>
                  <a:gd name="connsiteX64" fmla="*/ 237706 w 509254"/>
                  <a:gd name="connsiteY64" fmla="*/ 543300 h 543299"/>
                  <a:gd name="connsiteX65" fmla="*/ 271650 w 509254"/>
                  <a:gd name="connsiteY65" fmla="*/ 543300 h 543299"/>
                  <a:gd name="connsiteX66" fmla="*/ 305593 w 509254"/>
                  <a:gd name="connsiteY66" fmla="*/ 543300 h 543299"/>
                  <a:gd name="connsiteX67" fmla="*/ 339537 w 509254"/>
                  <a:gd name="connsiteY67" fmla="*/ 543300 h 543299"/>
                  <a:gd name="connsiteX68" fmla="*/ 373481 w 509254"/>
                  <a:gd name="connsiteY68" fmla="*/ 543300 h 543299"/>
                  <a:gd name="connsiteX69" fmla="*/ 373481 w 509254"/>
                  <a:gd name="connsiteY69" fmla="*/ 509356 h 543299"/>
                  <a:gd name="connsiteX70" fmla="*/ 407424 w 509254"/>
                  <a:gd name="connsiteY70" fmla="*/ 509356 h 543299"/>
                  <a:gd name="connsiteX71" fmla="*/ 441368 w 509254"/>
                  <a:gd name="connsiteY71" fmla="*/ 509356 h 543299"/>
                  <a:gd name="connsiteX72" fmla="*/ 441368 w 509254"/>
                  <a:gd name="connsiteY72" fmla="*/ 475412 h 543299"/>
                  <a:gd name="connsiteX73" fmla="*/ 475311 w 509254"/>
                  <a:gd name="connsiteY73" fmla="*/ 475412 h 543299"/>
                  <a:gd name="connsiteX74" fmla="*/ 475311 w 509254"/>
                  <a:gd name="connsiteY74" fmla="*/ 441469 h 543299"/>
                  <a:gd name="connsiteX75" fmla="*/ 509255 w 509254"/>
                  <a:gd name="connsiteY75" fmla="*/ 441469 h 543299"/>
                  <a:gd name="connsiteX76" fmla="*/ 509255 w 509254"/>
                  <a:gd name="connsiteY76" fmla="*/ 407525 h 543299"/>
                  <a:gd name="connsiteX77" fmla="*/ 509255 w 509254"/>
                  <a:gd name="connsiteY77" fmla="*/ 373582 h 543299"/>
                  <a:gd name="connsiteX78" fmla="*/ 509255 w 509254"/>
                  <a:gd name="connsiteY78" fmla="*/ 339638 h 543299"/>
                  <a:gd name="connsiteX79" fmla="*/ 509255 w 509254"/>
                  <a:gd name="connsiteY79" fmla="*/ 305694 h 543299"/>
                  <a:gd name="connsiteX80" fmla="*/ 509255 w 509254"/>
                  <a:gd name="connsiteY80" fmla="*/ 271751 h 543299"/>
                  <a:gd name="connsiteX81" fmla="*/ 475715 w 509254"/>
                  <a:gd name="connsiteY81" fmla="*/ 271751 h 543299"/>
                  <a:gd name="connsiteX82" fmla="*/ 135875 w 509254"/>
                  <a:gd name="connsiteY82" fmla="*/ 135572 h 543299"/>
                  <a:gd name="connsiteX83" fmla="*/ 169819 w 509254"/>
                  <a:gd name="connsiteY83" fmla="*/ 135572 h 543299"/>
                  <a:gd name="connsiteX84" fmla="*/ 203763 w 509254"/>
                  <a:gd name="connsiteY84" fmla="*/ 135572 h 543299"/>
                  <a:gd name="connsiteX85" fmla="*/ 237706 w 509254"/>
                  <a:gd name="connsiteY85" fmla="*/ 135572 h 543299"/>
                  <a:gd name="connsiteX86" fmla="*/ 271650 w 509254"/>
                  <a:gd name="connsiteY86" fmla="*/ 135572 h 543299"/>
                  <a:gd name="connsiteX87" fmla="*/ 271650 w 509254"/>
                  <a:gd name="connsiteY87" fmla="*/ 169516 h 543299"/>
                  <a:gd name="connsiteX88" fmla="*/ 271650 w 509254"/>
                  <a:gd name="connsiteY88" fmla="*/ 203561 h 543299"/>
                  <a:gd name="connsiteX89" fmla="*/ 237706 w 509254"/>
                  <a:gd name="connsiteY89" fmla="*/ 203561 h 543299"/>
                  <a:gd name="connsiteX90" fmla="*/ 203763 w 509254"/>
                  <a:gd name="connsiteY90" fmla="*/ 203561 h 543299"/>
                  <a:gd name="connsiteX91" fmla="*/ 169819 w 509254"/>
                  <a:gd name="connsiteY91" fmla="*/ 203561 h 543299"/>
                  <a:gd name="connsiteX92" fmla="*/ 135875 w 509254"/>
                  <a:gd name="connsiteY92" fmla="*/ 203561 h 543299"/>
                  <a:gd name="connsiteX93" fmla="*/ 101932 w 509254"/>
                  <a:gd name="connsiteY93" fmla="*/ 203561 h 543299"/>
                  <a:gd name="connsiteX94" fmla="*/ 101932 w 509254"/>
                  <a:gd name="connsiteY94" fmla="*/ 169617 h 543299"/>
                  <a:gd name="connsiteX95" fmla="*/ 101932 w 509254"/>
                  <a:gd name="connsiteY95" fmla="*/ 135673 h 543299"/>
                  <a:gd name="connsiteX96" fmla="*/ 135875 w 509254"/>
                  <a:gd name="connsiteY96" fmla="*/ 135673 h 543299"/>
                  <a:gd name="connsiteX97" fmla="*/ 101831 w 509254"/>
                  <a:gd name="connsiteY97" fmla="*/ 373481 h 543299"/>
                  <a:gd name="connsiteX98" fmla="*/ 101831 w 509254"/>
                  <a:gd name="connsiteY98" fmla="*/ 339537 h 543299"/>
                  <a:gd name="connsiteX99" fmla="*/ 135774 w 509254"/>
                  <a:gd name="connsiteY99" fmla="*/ 339537 h 543299"/>
                  <a:gd name="connsiteX100" fmla="*/ 169819 w 509254"/>
                  <a:gd name="connsiteY100" fmla="*/ 339537 h 543299"/>
                  <a:gd name="connsiteX101" fmla="*/ 203763 w 509254"/>
                  <a:gd name="connsiteY101" fmla="*/ 339537 h 543299"/>
                  <a:gd name="connsiteX102" fmla="*/ 237706 w 509254"/>
                  <a:gd name="connsiteY102" fmla="*/ 339537 h 543299"/>
                  <a:gd name="connsiteX103" fmla="*/ 271650 w 509254"/>
                  <a:gd name="connsiteY103" fmla="*/ 339537 h 543299"/>
                  <a:gd name="connsiteX104" fmla="*/ 305593 w 509254"/>
                  <a:gd name="connsiteY104" fmla="*/ 339537 h 543299"/>
                  <a:gd name="connsiteX105" fmla="*/ 339537 w 509254"/>
                  <a:gd name="connsiteY105" fmla="*/ 339537 h 543299"/>
                  <a:gd name="connsiteX106" fmla="*/ 373481 w 509254"/>
                  <a:gd name="connsiteY106" fmla="*/ 339537 h 543299"/>
                  <a:gd name="connsiteX107" fmla="*/ 373481 w 509254"/>
                  <a:gd name="connsiteY107" fmla="*/ 373481 h 543299"/>
                  <a:gd name="connsiteX108" fmla="*/ 373481 w 509254"/>
                  <a:gd name="connsiteY108" fmla="*/ 407424 h 543299"/>
                  <a:gd name="connsiteX109" fmla="*/ 339537 w 509254"/>
                  <a:gd name="connsiteY109" fmla="*/ 407424 h 543299"/>
                  <a:gd name="connsiteX110" fmla="*/ 305593 w 509254"/>
                  <a:gd name="connsiteY110" fmla="*/ 407424 h 543299"/>
                  <a:gd name="connsiteX111" fmla="*/ 271650 w 509254"/>
                  <a:gd name="connsiteY111" fmla="*/ 407424 h 543299"/>
                  <a:gd name="connsiteX112" fmla="*/ 237706 w 509254"/>
                  <a:gd name="connsiteY112" fmla="*/ 407424 h 543299"/>
                  <a:gd name="connsiteX113" fmla="*/ 203763 w 509254"/>
                  <a:gd name="connsiteY113" fmla="*/ 407424 h 543299"/>
                  <a:gd name="connsiteX114" fmla="*/ 169819 w 509254"/>
                  <a:gd name="connsiteY114" fmla="*/ 407424 h 543299"/>
                  <a:gd name="connsiteX115" fmla="*/ 135875 w 509254"/>
                  <a:gd name="connsiteY115" fmla="*/ 407424 h 543299"/>
                  <a:gd name="connsiteX116" fmla="*/ 101932 w 509254"/>
                  <a:gd name="connsiteY116" fmla="*/ 407424 h 543299"/>
                  <a:gd name="connsiteX117" fmla="*/ 101932 w 509254"/>
                  <a:gd name="connsiteY117" fmla="*/ 373481 h 543299"/>
                  <a:gd name="connsiteX118" fmla="*/ 373683 w 509254"/>
                  <a:gd name="connsiteY118" fmla="*/ 102134 h 543299"/>
                  <a:gd name="connsiteX119" fmla="*/ 373683 w 509254"/>
                  <a:gd name="connsiteY119" fmla="*/ 102134 h 543299"/>
                  <a:gd name="connsiteX120" fmla="*/ 340244 w 509254"/>
                  <a:gd name="connsiteY120" fmla="*/ 102134 h 543299"/>
                  <a:gd name="connsiteX121" fmla="*/ 340244 w 509254"/>
                  <a:gd name="connsiteY121" fmla="*/ 136077 h 543299"/>
                  <a:gd name="connsiteX122" fmla="*/ 340244 w 509254"/>
                  <a:gd name="connsiteY122" fmla="*/ 170021 h 543299"/>
                  <a:gd name="connsiteX123" fmla="*/ 340244 w 509254"/>
                  <a:gd name="connsiteY123" fmla="*/ 203965 h 543299"/>
                  <a:gd name="connsiteX124" fmla="*/ 340244 w 509254"/>
                  <a:gd name="connsiteY124" fmla="*/ 237403 h 543299"/>
                  <a:gd name="connsiteX125" fmla="*/ 339739 w 509254"/>
                  <a:gd name="connsiteY125" fmla="*/ 237403 h 543299"/>
                  <a:gd name="connsiteX126" fmla="*/ 339739 w 509254"/>
                  <a:gd name="connsiteY126" fmla="*/ 203561 h 543299"/>
                  <a:gd name="connsiteX127" fmla="*/ 339739 w 509254"/>
                  <a:gd name="connsiteY127" fmla="*/ 169617 h 543299"/>
                  <a:gd name="connsiteX128" fmla="*/ 339739 w 509254"/>
                  <a:gd name="connsiteY128" fmla="*/ 135673 h 543299"/>
                  <a:gd name="connsiteX129" fmla="*/ 339739 w 509254"/>
                  <a:gd name="connsiteY129" fmla="*/ 101730 h 543299"/>
                  <a:gd name="connsiteX130" fmla="*/ 373683 w 509254"/>
                  <a:gd name="connsiteY130" fmla="*/ 102134 h 543299"/>
                  <a:gd name="connsiteX131" fmla="*/ 67887 w 509254"/>
                  <a:gd name="connsiteY131" fmla="*/ 407020 h 543299"/>
                  <a:gd name="connsiteX132" fmla="*/ 67887 w 509254"/>
                  <a:gd name="connsiteY132" fmla="*/ 407525 h 543299"/>
                  <a:gd name="connsiteX133" fmla="*/ 34449 w 509254"/>
                  <a:gd name="connsiteY133" fmla="*/ 407525 h 543299"/>
                  <a:gd name="connsiteX134" fmla="*/ 34449 w 509254"/>
                  <a:gd name="connsiteY134" fmla="*/ 407020 h 543299"/>
                  <a:gd name="connsiteX135" fmla="*/ 67887 w 509254"/>
                  <a:gd name="connsiteY135" fmla="*/ 407020 h 543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509254" h="543299">
                    <a:moveTo>
                      <a:pt x="475715" y="271549"/>
                    </a:moveTo>
                    <a:lnTo>
                      <a:pt x="475715" y="237605"/>
                    </a:lnTo>
                    <a:lnTo>
                      <a:pt x="441772" y="237605"/>
                    </a:lnTo>
                    <a:lnTo>
                      <a:pt x="407828" y="237605"/>
                    </a:lnTo>
                    <a:lnTo>
                      <a:pt x="374390" y="237605"/>
                    </a:lnTo>
                    <a:lnTo>
                      <a:pt x="374390" y="204167"/>
                    </a:lnTo>
                    <a:lnTo>
                      <a:pt x="374390" y="170223"/>
                    </a:lnTo>
                    <a:lnTo>
                      <a:pt x="374390" y="169718"/>
                    </a:lnTo>
                    <a:lnTo>
                      <a:pt x="407828" y="169718"/>
                    </a:lnTo>
                    <a:lnTo>
                      <a:pt x="407828" y="135774"/>
                    </a:lnTo>
                    <a:lnTo>
                      <a:pt x="407828" y="101831"/>
                    </a:lnTo>
                    <a:lnTo>
                      <a:pt x="374289" y="101831"/>
                    </a:lnTo>
                    <a:lnTo>
                      <a:pt x="373784" y="67887"/>
                    </a:lnTo>
                    <a:lnTo>
                      <a:pt x="339840" y="67887"/>
                    </a:lnTo>
                    <a:lnTo>
                      <a:pt x="339840" y="33944"/>
                    </a:lnTo>
                    <a:lnTo>
                      <a:pt x="305896" y="33944"/>
                    </a:lnTo>
                    <a:lnTo>
                      <a:pt x="305896" y="0"/>
                    </a:lnTo>
                    <a:lnTo>
                      <a:pt x="271953" y="0"/>
                    </a:lnTo>
                    <a:lnTo>
                      <a:pt x="238009" y="0"/>
                    </a:lnTo>
                    <a:lnTo>
                      <a:pt x="204066" y="0"/>
                    </a:lnTo>
                    <a:lnTo>
                      <a:pt x="169819" y="0"/>
                    </a:lnTo>
                    <a:lnTo>
                      <a:pt x="135875" y="0"/>
                    </a:lnTo>
                    <a:lnTo>
                      <a:pt x="101932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34045" y="33944"/>
                    </a:lnTo>
                    <a:lnTo>
                      <a:pt x="34550" y="33944"/>
                    </a:lnTo>
                    <a:lnTo>
                      <a:pt x="34550" y="67180"/>
                    </a:lnTo>
                    <a:lnTo>
                      <a:pt x="34550" y="101124"/>
                    </a:lnTo>
                    <a:lnTo>
                      <a:pt x="34045" y="101124"/>
                    </a:lnTo>
                    <a:lnTo>
                      <a:pt x="34449" y="67180"/>
                    </a:lnTo>
                    <a:lnTo>
                      <a:pt x="33944" y="67180"/>
                    </a:lnTo>
                    <a:lnTo>
                      <a:pt x="33944" y="33742"/>
                    </a:lnTo>
                    <a:lnTo>
                      <a:pt x="0" y="33742"/>
                    </a:lnTo>
                    <a:lnTo>
                      <a:pt x="0" y="67685"/>
                    </a:lnTo>
                    <a:lnTo>
                      <a:pt x="505" y="67685"/>
                    </a:lnTo>
                    <a:lnTo>
                      <a:pt x="505" y="101124"/>
                    </a:lnTo>
                    <a:lnTo>
                      <a:pt x="505" y="135067"/>
                    </a:lnTo>
                    <a:lnTo>
                      <a:pt x="505" y="169011"/>
                    </a:lnTo>
                    <a:lnTo>
                      <a:pt x="505" y="202954"/>
                    </a:lnTo>
                    <a:lnTo>
                      <a:pt x="505" y="236898"/>
                    </a:lnTo>
                    <a:lnTo>
                      <a:pt x="505" y="270842"/>
                    </a:lnTo>
                    <a:lnTo>
                      <a:pt x="505" y="304785"/>
                    </a:lnTo>
                    <a:lnTo>
                      <a:pt x="34449" y="304785"/>
                    </a:lnTo>
                    <a:lnTo>
                      <a:pt x="34449" y="338729"/>
                    </a:lnTo>
                    <a:lnTo>
                      <a:pt x="33944" y="338729"/>
                    </a:lnTo>
                    <a:lnTo>
                      <a:pt x="33944" y="305290"/>
                    </a:lnTo>
                    <a:lnTo>
                      <a:pt x="505" y="304785"/>
                    </a:lnTo>
                    <a:lnTo>
                      <a:pt x="505" y="338729"/>
                    </a:lnTo>
                    <a:lnTo>
                      <a:pt x="505" y="372672"/>
                    </a:lnTo>
                    <a:lnTo>
                      <a:pt x="505" y="406616"/>
                    </a:lnTo>
                    <a:lnTo>
                      <a:pt x="505" y="440964"/>
                    </a:lnTo>
                    <a:lnTo>
                      <a:pt x="33944" y="440964"/>
                    </a:lnTo>
                    <a:lnTo>
                      <a:pt x="33944" y="441469"/>
                    </a:lnTo>
                    <a:lnTo>
                      <a:pt x="0" y="441469"/>
                    </a:lnTo>
                    <a:lnTo>
                      <a:pt x="0" y="475412"/>
                    </a:lnTo>
                    <a:lnTo>
                      <a:pt x="33944" y="475412"/>
                    </a:lnTo>
                    <a:lnTo>
                      <a:pt x="33944" y="509356"/>
                    </a:lnTo>
                    <a:lnTo>
                      <a:pt x="67887" y="509356"/>
                    </a:lnTo>
                    <a:lnTo>
                      <a:pt x="67887" y="543300"/>
                    </a:lnTo>
                    <a:lnTo>
                      <a:pt x="101831" y="543300"/>
                    </a:lnTo>
                    <a:lnTo>
                      <a:pt x="135774" y="543300"/>
                    </a:lnTo>
                    <a:lnTo>
                      <a:pt x="169819" y="543300"/>
                    </a:lnTo>
                    <a:lnTo>
                      <a:pt x="203763" y="543300"/>
                    </a:lnTo>
                    <a:lnTo>
                      <a:pt x="237706" y="543300"/>
                    </a:lnTo>
                    <a:lnTo>
                      <a:pt x="271650" y="543300"/>
                    </a:lnTo>
                    <a:lnTo>
                      <a:pt x="305593" y="543300"/>
                    </a:lnTo>
                    <a:lnTo>
                      <a:pt x="339537" y="543300"/>
                    </a:lnTo>
                    <a:lnTo>
                      <a:pt x="373481" y="543300"/>
                    </a:lnTo>
                    <a:lnTo>
                      <a:pt x="373481" y="509356"/>
                    </a:lnTo>
                    <a:lnTo>
                      <a:pt x="407424" y="509356"/>
                    </a:lnTo>
                    <a:lnTo>
                      <a:pt x="441368" y="509356"/>
                    </a:lnTo>
                    <a:lnTo>
                      <a:pt x="441368" y="475412"/>
                    </a:lnTo>
                    <a:lnTo>
                      <a:pt x="475311" y="475412"/>
                    </a:lnTo>
                    <a:lnTo>
                      <a:pt x="475311" y="441469"/>
                    </a:lnTo>
                    <a:lnTo>
                      <a:pt x="509255" y="441469"/>
                    </a:lnTo>
                    <a:lnTo>
                      <a:pt x="509255" y="407525"/>
                    </a:lnTo>
                    <a:lnTo>
                      <a:pt x="509255" y="373582"/>
                    </a:lnTo>
                    <a:lnTo>
                      <a:pt x="509255" y="339638"/>
                    </a:lnTo>
                    <a:lnTo>
                      <a:pt x="509255" y="305694"/>
                    </a:lnTo>
                    <a:lnTo>
                      <a:pt x="509255" y="271751"/>
                    </a:lnTo>
                    <a:lnTo>
                      <a:pt x="475715" y="271751"/>
                    </a:lnTo>
                    <a:close/>
                    <a:moveTo>
                      <a:pt x="135875" y="135572"/>
                    </a:moveTo>
                    <a:lnTo>
                      <a:pt x="169819" y="135572"/>
                    </a:lnTo>
                    <a:lnTo>
                      <a:pt x="203763" y="135572"/>
                    </a:lnTo>
                    <a:lnTo>
                      <a:pt x="237706" y="135572"/>
                    </a:lnTo>
                    <a:lnTo>
                      <a:pt x="271650" y="135572"/>
                    </a:lnTo>
                    <a:lnTo>
                      <a:pt x="271650" y="169516"/>
                    </a:lnTo>
                    <a:lnTo>
                      <a:pt x="271650" y="203561"/>
                    </a:lnTo>
                    <a:lnTo>
                      <a:pt x="237706" y="203561"/>
                    </a:lnTo>
                    <a:lnTo>
                      <a:pt x="203763" y="203561"/>
                    </a:lnTo>
                    <a:lnTo>
                      <a:pt x="169819" y="203561"/>
                    </a:lnTo>
                    <a:lnTo>
                      <a:pt x="135875" y="203561"/>
                    </a:lnTo>
                    <a:lnTo>
                      <a:pt x="101932" y="203561"/>
                    </a:lnTo>
                    <a:lnTo>
                      <a:pt x="101932" y="169617"/>
                    </a:lnTo>
                    <a:lnTo>
                      <a:pt x="101932" y="135673"/>
                    </a:lnTo>
                    <a:lnTo>
                      <a:pt x="135875" y="135673"/>
                    </a:lnTo>
                    <a:close/>
                    <a:moveTo>
                      <a:pt x="101831" y="373481"/>
                    </a:moveTo>
                    <a:lnTo>
                      <a:pt x="101831" y="339537"/>
                    </a:lnTo>
                    <a:lnTo>
                      <a:pt x="135774" y="339537"/>
                    </a:lnTo>
                    <a:lnTo>
                      <a:pt x="169819" y="339537"/>
                    </a:lnTo>
                    <a:lnTo>
                      <a:pt x="203763" y="339537"/>
                    </a:lnTo>
                    <a:lnTo>
                      <a:pt x="237706" y="339537"/>
                    </a:lnTo>
                    <a:lnTo>
                      <a:pt x="271650" y="339537"/>
                    </a:lnTo>
                    <a:lnTo>
                      <a:pt x="305593" y="339537"/>
                    </a:lnTo>
                    <a:lnTo>
                      <a:pt x="339537" y="339537"/>
                    </a:lnTo>
                    <a:lnTo>
                      <a:pt x="373481" y="339537"/>
                    </a:lnTo>
                    <a:lnTo>
                      <a:pt x="373481" y="373481"/>
                    </a:lnTo>
                    <a:lnTo>
                      <a:pt x="373481" y="407424"/>
                    </a:lnTo>
                    <a:lnTo>
                      <a:pt x="339537" y="407424"/>
                    </a:lnTo>
                    <a:lnTo>
                      <a:pt x="305593" y="407424"/>
                    </a:lnTo>
                    <a:lnTo>
                      <a:pt x="271650" y="407424"/>
                    </a:lnTo>
                    <a:lnTo>
                      <a:pt x="237706" y="407424"/>
                    </a:lnTo>
                    <a:lnTo>
                      <a:pt x="203763" y="407424"/>
                    </a:lnTo>
                    <a:lnTo>
                      <a:pt x="169819" y="407424"/>
                    </a:lnTo>
                    <a:lnTo>
                      <a:pt x="135875" y="407424"/>
                    </a:lnTo>
                    <a:lnTo>
                      <a:pt x="101932" y="407424"/>
                    </a:lnTo>
                    <a:lnTo>
                      <a:pt x="101932" y="373481"/>
                    </a:lnTo>
                    <a:close/>
                    <a:moveTo>
                      <a:pt x="373683" y="102134"/>
                    </a:moveTo>
                    <a:lnTo>
                      <a:pt x="373683" y="102134"/>
                    </a:lnTo>
                    <a:lnTo>
                      <a:pt x="340244" y="102134"/>
                    </a:lnTo>
                    <a:lnTo>
                      <a:pt x="340244" y="136077"/>
                    </a:lnTo>
                    <a:lnTo>
                      <a:pt x="340244" y="170021"/>
                    </a:lnTo>
                    <a:lnTo>
                      <a:pt x="340244" y="203965"/>
                    </a:lnTo>
                    <a:lnTo>
                      <a:pt x="340244" y="237403"/>
                    </a:lnTo>
                    <a:lnTo>
                      <a:pt x="339739" y="237403"/>
                    </a:lnTo>
                    <a:lnTo>
                      <a:pt x="339739" y="203561"/>
                    </a:lnTo>
                    <a:lnTo>
                      <a:pt x="339739" y="169617"/>
                    </a:lnTo>
                    <a:lnTo>
                      <a:pt x="339739" y="135673"/>
                    </a:lnTo>
                    <a:lnTo>
                      <a:pt x="339739" y="101730"/>
                    </a:lnTo>
                    <a:lnTo>
                      <a:pt x="373683" y="102134"/>
                    </a:lnTo>
                    <a:close/>
                    <a:moveTo>
                      <a:pt x="67887" y="407020"/>
                    </a:moveTo>
                    <a:lnTo>
                      <a:pt x="67887" y="407525"/>
                    </a:lnTo>
                    <a:lnTo>
                      <a:pt x="34449" y="407525"/>
                    </a:lnTo>
                    <a:lnTo>
                      <a:pt x="34449" y="407020"/>
                    </a:lnTo>
                    <a:lnTo>
                      <a:pt x="67887" y="407020"/>
                    </a:lnTo>
                    <a:close/>
                  </a:path>
                </a:pathLst>
              </a:custGeom>
              <a:solidFill>
                <a:schemeClr val="bg1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A9C0A4E3-5C09-555A-C485-4048E5A8FD0A}"/>
                  </a:ext>
                </a:extLst>
              </p:cNvPr>
              <p:cNvSpPr/>
              <p:nvPr/>
            </p:nvSpPr>
            <p:spPr>
              <a:xfrm>
                <a:off x="-3646081" y="3595054"/>
                <a:ext cx="33943" cy="373783"/>
              </a:xfrm>
              <a:custGeom>
                <a:avLst/>
                <a:gdLst>
                  <a:gd name="connsiteX0" fmla="*/ 33944 w 33943"/>
                  <a:gd name="connsiteY0" fmla="*/ 339739 h 373783"/>
                  <a:gd name="connsiteX1" fmla="*/ 33944 w 33943"/>
                  <a:gd name="connsiteY1" fmla="*/ 305795 h 373783"/>
                  <a:gd name="connsiteX2" fmla="*/ 33944 w 33943"/>
                  <a:gd name="connsiteY2" fmla="*/ 271852 h 373783"/>
                  <a:gd name="connsiteX3" fmla="*/ 33944 w 33943"/>
                  <a:gd name="connsiteY3" fmla="*/ 237807 h 373783"/>
                  <a:gd name="connsiteX4" fmla="*/ 33944 w 33943"/>
                  <a:gd name="connsiteY4" fmla="*/ 203864 h 373783"/>
                  <a:gd name="connsiteX5" fmla="*/ 33944 w 33943"/>
                  <a:gd name="connsiteY5" fmla="*/ 169920 h 373783"/>
                  <a:gd name="connsiteX6" fmla="*/ 33944 w 33943"/>
                  <a:gd name="connsiteY6" fmla="*/ 135875 h 373783"/>
                  <a:gd name="connsiteX7" fmla="*/ 33944 w 33943"/>
                  <a:gd name="connsiteY7" fmla="*/ 101932 h 373783"/>
                  <a:gd name="connsiteX8" fmla="*/ 33944 w 33943"/>
                  <a:gd name="connsiteY8" fmla="*/ 67887 h 373783"/>
                  <a:gd name="connsiteX9" fmla="*/ 33944 w 33943"/>
                  <a:gd name="connsiteY9" fmla="*/ 33944 h 373783"/>
                  <a:gd name="connsiteX10" fmla="*/ 33944 w 33943"/>
                  <a:gd name="connsiteY10" fmla="*/ 0 h 373783"/>
                  <a:gd name="connsiteX11" fmla="*/ 0 w 33943"/>
                  <a:gd name="connsiteY11" fmla="*/ 0 h 373783"/>
                  <a:gd name="connsiteX12" fmla="*/ 0 w 33943"/>
                  <a:gd name="connsiteY12" fmla="*/ 33944 h 373783"/>
                  <a:gd name="connsiteX13" fmla="*/ 0 w 33943"/>
                  <a:gd name="connsiteY13" fmla="*/ 67887 h 373783"/>
                  <a:gd name="connsiteX14" fmla="*/ 0 w 33943"/>
                  <a:gd name="connsiteY14" fmla="*/ 101932 h 373783"/>
                  <a:gd name="connsiteX15" fmla="*/ 0 w 33943"/>
                  <a:gd name="connsiteY15" fmla="*/ 135875 h 373783"/>
                  <a:gd name="connsiteX16" fmla="*/ 0 w 33943"/>
                  <a:gd name="connsiteY16" fmla="*/ 169920 h 373783"/>
                  <a:gd name="connsiteX17" fmla="*/ 0 w 33943"/>
                  <a:gd name="connsiteY17" fmla="*/ 203864 h 373783"/>
                  <a:gd name="connsiteX18" fmla="*/ 0 w 33943"/>
                  <a:gd name="connsiteY18" fmla="*/ 237807 h 373783"/>
                  <a:gd name="connsiteX19" fmla="*/ 0 w 33943"/>
                  <a:gd name="connsiteY19" fmla="*/ 271852 h 373783"/>
                  <a:gd name="connsiteX20" fmla="*/ 0 w 33943"/>
                  <a:gd name="connsiteY20" fmla="*/ 305795 h 373783"/>
                  <a:gd name="connsiteX21" fmla="*/ 0 w 33943"/>
                  <a:gd name="connsiteY21" fmla="*/ 339739 h 373783"/>
                  <a:gd name="connsiteX22" fmla="*/ 0 w 33943"/>
                  <a:gd name="connsiteY22" fmla="*/ 339739 h 373783"/>
                  <a:gd name="connsiteX23" fmla="*/ 0 w 33943"/>
                  <a:gd name="connsiteY23" fmla="*/ 373784 h 373783"/>
                  <a:gd name="connsiteX24" fmla="*/ 33944 w 33943"/>
                  <a:gd name="connsiteY24" fmla="*/ 373784 h 373783"/>
                  <a:gd name="connsiteX25" fmla="*/ 33944 w 33943"/>
                  <a:gd name="connsiteY25" fmla="*/ 339739 h 373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3943" h="373783">
                    <a:moveTo>
                      <a:pt x="33944" y="339739"/>
                    </a:moveTo>
                    <a:lnTo>
                      <a:pt x="33944" y="305795"/>
                    </a:lnTo>
                    <a:lnTo>
                      <a:pt x="33944" y="271852"/>
                    </a:lnTo>
                    <a:lnTo>
                      <a:pt x="33944" y="237807"/>
                    </a:lnTo>
                    <a:lnTo>
                      <a:pt x="33944" y="203864"/>
                    </a:lnTo>
                    <a:lnTo>
                      <a:pt x="33944" y="169920"/>
                    </a:lnTo>
                    <a:lnTo>
                      <a:pt x="33944" y="135875"/>
                    </a:lnTo>
                    <a:lnTo>
                      <a:pt x="33944" y="101932"/>
                    </a:lnTo>
                    <a:lnTo>
                      <a:pt x="33944" y="67887"/>
                    </a:lnTo>
                    <a:lnTo>
                      <a:pt x="33944" y="33944"/>
                    </a:lnTo>
                    <a:lnTo>
                      <a:pt x="33944" y="0"/>
                    </a:lnTo>
                    <a:lnTo>
                      <a:pt x="0" y="0"/>
                    </a:lnTo>
                    <a:lnTo>
                      <a:pt x="0" y="33944"/>
                    </a:lnTo>
                    <a:lnTo>
                      <a:pt x="0" y="67887"/>
                    </a:lnTo>
                    <a:lnTo>
                      <a:pt x="0" y="101932"/>
                    </a:lnTo>
                    <a:lnTo>
                      <a:pt x="0" y="135875"/>
                    </a:lnTo>
                    <a:lnTo>
                      <a:pt x="0" y="169920"/>
                    </a:lnTo>
                    <a:lnTo>
                      <a:pt x="0" y="203864"/>
                    </a:lnTo>
                    <a:lnTo>
                      <a:pt x="0" y="237807"/>
                    </a:lnTo>
                    <a:lnTo>
                      <a:pt x="0" y="271852"/>
                    </a:lnTo>
                    <a:lnTo>
                      <a:pt x="0" y="305795"/>
                    </a:lnTo>
                    <a:lnTo>
                      <a:pt x="0" y="339739"/>
                    </a:lnTo>
                    <a:lnTo>
                      <a:pt x="0" y="339739"/>
                    </a:lnTo>
                    <a:lnTo>
                      <a:pt x="0" y="373784"/>
                    </a:lnTo>
                    <a:lnTo>
                      <a:pt x="33944" y="373784"/>
                    </a:lnTo>
                    <a:lnTo>
                      <a:pt x="33944" y="339739"/>
                    </a:lnTo>
                    <a:close/>
                  </a:path>
                </a:pathLst>
              </a:custGeom>
              <a:solidFill>
                <a:schemeClr val="bg1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  <p:grpSp>
          <p:nvGrpSpPr>
            <p:cNvPr id="40" name="Graphic 34">
              <a:extLst>
                <a:ext uri="{FF2B5EF4-FFF2-40B4-BE49-F238E27FC236}">
                  <a16:creationId xmlns:a16="http://schemas.microsoft.com/office/drawing/2014/main" id="{D0537A92-E2A3-87E8-0E46-CAD403EEBB82}"/>
                </a:ext>
              </a:extLst>
            </p:cNvPr>
            <p:cNvGrpSpPr/>
            <p:nvPr/>
          </p:nvGrpSpPr>
          <p:grpSpPr>
            <a:xfrm>
              <a:off x="-3816001" y="3357146"/>
              <a:ext cx="849600" cy="849600"/>
              <a:chOff x="-3816001" y="3357146"/>
              <a:chExt cx="849600" cy="849600"/>
            </a:xfrm>
            <a:solidFill>
              <a:srgbClr val="000000"/>
            </a:solidFill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11289B99-E8EB-096B-358E-A13E54BE20C7}"/>
                  </a:ext>
                </a:extLst>
              </p:cNvPr>
              <p:cNvSpPr/>
              <p:nvPr/>
            </p:nvSpPr>
            <p:spPr>
              <a:xfrm>
                <a:off x="-3816001" y="3357146"/>
                <a:ext cx="849600" cy="849600"/>
              </a:xfrm>
              <a:custGeom>
                <a:avLst/>
                <a:gdLst>
                  <a:gd name="connsiteX0" fmla="*/ 815555 w 849600"/>
                  <a:gd name="connsiteY0" fmla="*/ 101932 h 849600"/>
                  <a:gd name="connsiteX1" fmla="*/ 815555 w 849600"/>
                  <a:gd name="connsiteY1" fmla="*/ 67988 h 849600"/>
                  <a:gd name="connsiteX2" fmla="*/ 781612 w 849600"/>
                  <a:gd name="connsiteY2" fmla="*/ 67988 h 849600"/>
                  <a:gd name="connsiteX3" fmla="*/ 781612 w 849600"/>
                  <a:gd name="connsiteY3" fmla="*/ 33944 h 849600"/>
                  <a:gd name="connsiteX4" fmla="*/ 747567 w 849600"/>
                  <a:gd name="connsiteY4" fmla="*/ 33944 h 849600"/>
                  <a:gd name="connsiteX5" fmla="*/ 747567 w 849600"/>
                  <a:gd name="connsiteY5" fmla="*/ 0 h 849600"/>
                  <a:gd name="connsiteX6" fmla="*/ 713624 w 849600"/>
                  <a:gd name="connsiteY6" fmla="*/ 0 h 849600"/>
                  <a:gd name="connsiteX7" fmla="*/ 679680 w 849600"/>
                  <a:gd name="connsiteY7" fmla="*/ 0 h 849600"/>
                  <a:gd name="connsiteX8" fmla="*/ 645736 w 849600"/>
                  <a:gd name="connsiteY8" fmla="*/ 0 h 849600"/>
                  <a:gd name="connsiteX9" fmla="*/ 611793 w 849600"/>
                  <a:gd name="connsiteY9" fmla="*/ 0 h 849600"/>
                  <a:gd name="connsiteX10" fmla="*/ 577849 w 849600"/>
                  <a:gd name="connsiteY10" fmla="*/ 0 h 849600"/>
                  <a:gd name="connsiteX11" fmla="*/ 543906 w 849600"/>
                  <a:gd name="connsiteY11" fmla="*/ 0 h 849600"/>
                  <a:gd name="connsiteX12" fmla="*/ 509962 w 849600"/>
                  <a:gd name="connsiteY12" fmla="*/ 0 h 849600"/>
                  <a:gd name="connsiteX13" fmla="*/ 476018 w 849600"/>
                  <a:gd name="connsiteY13" fmla="*/ 0 h 849600"/>
                  <a:gd name="connsiteX14" fmla="*/ 442075 w 849600"/>
                  <a:gd name="connsiteY14" fmla="*/ 0 h 849600"/>
                  <a:gd name="connsiteX15" fmla="*/ 408131 w 849600"/>
                  <a:gd name="connsiteY15" fmla="*/ 0 h 849600"/>
                  <a:gd name="connsiteX16" fmla="*/ 373784 w 849600"/>
                  <a:gd name="connsiteY16" fmla="*/ 0 h 849600"/>
                  <a:gd name="connsiteX17" fmla="*/ 339840 w 849600"/>
                  <a:gd name="connsiteY17" fmla="*/ 0 h 849600"/>
                  <a:gd name="connsiteX18" fmla="*/ 305896 w 849600"/>
                  <a:gd name="connsiteY18" fmla="*/ 0 h 849600"/>
                  <a:gd name="connsiteX19" fmla="*/ 271953 w 849600"/>
                  <a:gd name="connsiteY19" fmla="*/ 0 h 849600"/>
                  <a:gd name="connsiteX20" fmla="*/ 238009 w 849600"/>
                  <a:gd name="connsiteY20" fmla="*/ 0 h 849600"/>
                  <a:gd name="connsiteX21" fmla="*/ 204066 w 849600"/>
                  <a:gd name="connsiteY21" fmla="*/ 0 h 849600"/>
                  <a:gd name="connsiteX22" fmla="*/ 170122 w 849600"/>
                  <a:gd name="connsiteY22" fmla="*/ 0 h 849600"/>
                  <a:gd name="connsiteX23" fmla="*/ 136178 w 849600"/>
                  <a:gd name="connsiteY23" fmla="*/ 0 h 849600"/>
                  <a:gd name="connsiteX24" fmla="*/ 102235 w 849600"/>
                  <a:gd name="connsiteY24" fmla="*/ 0 h 849600"/>
                  <a:gd name="connsiteX25" fmla="*/ 102235 w 849600"/>
                  <a:gd name="connsiteY25" fmla="*/ 33944 h 849600"/>
                  <a:gd name="connsiteX26" fmla="*/ 67988 w 849600"/>
                  <a:gd name="connsiteY26" fmla="*/ 33944 h 849600"/>
                  <a:gd name="connsiteX27" fmla="*/ 67988 w 849600"/>
                  <a:gd name="connsiteY27" fmla="*/ 67887 h 849600"/>
                  <a:gd name="connsiteX28" fmla="*/ 33944 w 849600"/>
                  <a:gd name="connsiteY28" fmla="*/ 67887 h 849600"/>
                  <a:gd name="connsiteX29" fmla="*/ 33944 w 849600"/>
                  <a:gd name="connsiteY29" fmla="*/ 101831 h 849600"/>
                  <a:gd name="connsiteX30" fmla="*/ 0 w 849600"/>
                  <a:gd name="connsiteY30" fmla="*/ 101831 h 849600"/>
                  <a:gd name="connsiteX31" fmla="*/ 0 w 849600"/>
                  <a:gd name="connsiteY31" fmla="*/ 135774 h 849600"/>
                  <a:gd name="connsiteX32" fmla="*/ 0 w 849600"/>
                  <a:gd name="connsiteY32" fmla="*/ 169718 h 849600"/>
                  <a:gd name="connsiteX33" fmla="*/ 0 w 849600"/>
                  <a:gd name="connsiteY33" fmla="*/ 203662 h 849600"/>
                  <a:gd name="connsiteX34" fmla="*/ 0 w 849600"/>
                  <a:gd name="connsiteY34" fmla="*/ 237605 h 849600"/>
                  <a:gd name="connsiteX35" fmla="*/ 0 w 849600"/>
                  <a:gd name="connsiteY35" fmla="*/ 271549 h 849600"/>
                  <a:gd name="connsiteX36" fmla="*/ 0 w 849600"/>
                  <a:gd name="connsiteY36" fmla="*/ 305492 h 849600"/>
                  <a:gd name="connsiteX37" fmla="*/ 0 w 849600"/>
                  <a:gd name="connsiteY37" fmla="*/ 339436 h 849600"/>
                  <a:gd name="connsiteX38" fmla="*/ 0 w 849600"/>
                  <a:gd name="connsiteY38" fmla="*/ 373784 h 849600"/>
                  <a:gd name="connsiteX39" fmla="*/ 0 w 849600"/>
                  <a:gd name="connsiteY39" fmla="*/ 407727 h 849600"/>
                  <a:gd name="connsiteX40" fmla="*/ 0 w 849600"/>
                  <a:gd name="connsiteY40" fmla="*/ 441671 h 849600"/>
                  <a:gd name="connsiteX41" fmla="*/ 0 w 849600"/>
                  <a:gd name="connsiteY41" fmla="*/ 475614 h 849600"/>
                  <a:gd name="connsiteX42" fmla="*/ 0 w 849600"/>
                  <a:gd name="connsiteY42" fmla="*/ 509558 h 849600"/>
                  <a:gd name="connsiteX43" fmla="*/ 0 w 849600"/>
                  <a:gd name="connsiteY43" fmla="*/ 543502 h 849600"/>
                  <a:gd name="connsiteX44" fmla="*/ 0 w 849600"/>
                  <a:gd name="connsiteY44" fmla="*/ 577445 h 849600"/>
                  <a:gd name="connsiteX45" fmla="*/ 0 w 849600"/>
                  <a:gd name="connsiteY45" fmla="*/ 611389 h 849600"/>
                  <a:gd name="connsiteX46" fmla="*/ 0 w 849600"/>
                  <a:gd name="connsiteY46" fmla="*/ 645332 h 849600"/>
                  <a:gd name="connsiteX47" fmla="*/ 0 w 849600"/>
                  <a:gd name="connsiteY47" fmla="*/ 679276 h 849600"/>
                  <a:gd name="connsiteX48" fmla="*/ 0 w 849600"/>
                  <a:gd name="connsiteY48" fmla="*/ 713220 h 849600"/>
                  <a:gd name="connsiteX49" fmla="*/ 0 w 849600"/>
                  <a:gd name="connsiteY49" fmla="*/ 747567 h 849600"/>
                  <a:gd name="connsiteX50" fmla="*/ 33944 w 849600"/>
                  <a:gd name="connsiteY50" fmla="*/ 747567 h 849600"/>
                  <a:gd name="connsiteX51" fmla="*/ 33944 w 849600"/>
                  <a:gd name="connsiteY51" fmla="*/ 781511 h 849600"/>
                  <a:gd name="connsiteX52" fmla="*/ 67887 w 849600"/>
                  <a:gd name="connsiteY52" fmla="*/ 781511 h 849600"/>
                  <a:gd name="connsiteX53" fmla="*/ 67887 w 849600"/>
                  <a:gd name="connsiteY53" fmla="*/ 815454 h 849600"/>
                  <a:gd name="connsiteX54" fmla="*/ 101831 w 849600"/>
                  <a:gd name="connsiteY54" fmla="*/ 815454 h 849600"/>
                  <a:gd name="connsiteX55" fmla="*/ 101831 w 849600"/>
                  <a:gd name="connsiteY55" fmla="*/ 849600 h 849600"/>
                  <a:gd name="connsiteX56" fmla="*/ 135774 w 849600"/>
                  <a:gd name="connsiteY56" fmla="*/ 849600 h 849600"/>
                  <a:gd name="connsiteX57" fmla="*/ 169718 w 849600"/>
                  <a:gd name="connsiteY57" fmla="*/ 849600 h 849600"/>
                  <a:gd name="connsiteX58" fmla="*/ 203662 w 849600"/>
                  <a:gd name="connsiteY58" fmla="*/ 849600 h 849600"/>
                  <a:gd name="connsiteX59" fmla="*/ 237605 w 849600"/>
                  <a:gd name="connsiteY59" fmla="*/ 849600 h 849600"/>
                  <a:gd name="connsiteX60" fmla="*/ 271549 w 849600"/>
                  <a:gd name="connsiteY60" fmla="*/ 849600 h 849600"/>
                  <a:gd name="connsiteX61" fmla="*/ 305492 w 849600"/>
                  <a:gd name="connsiteY61" fmla="*/ 849600 h 849600"/>
                  <a:gd name="connsiteX62" fmla="*/ 339436 w 849600"/>
                  <a:gd name="connsiteY62" fmla="*/ 849600 h 849600"/>
                  <a:gd name="connsiteX63" fmla="*/ 373784 w 849600"/>
                  <a:gd name="connsiteY63" fmla="*/ 849600 h 849600"/>
                  <a:gd name="connsiteX64" fmla="*/ 407727 w 849600"/>
                  <a:gd name="connsiteY64" fmla="*/ 849600 h 849600"/>
                  <a:gd name="connsiteX65" fmla="*/ 441671 w 849600"/>
                  <a:gd name="connsiteY65" fmla="*/ 849600 h 849600"/>
                  <a:gd name="connsiteX66" fmla="*/ 475614 w 849600"/>
                  <a:gd name="connsiteY66" fmla="*/ 849600 h 849600"/>
                  <a:gd name="connsiteX67" fmla="*/ 509558 w 849600"/>
                  <a:gd name="connsiteY67" fmla="*/ 849600 h 849600"/>
                  <a:gd name="connsiteX68" fmla="*/ 543502 w 849600"/>
                  <a:gd name="connsiteY68" fmla="*/ 849600 h 849600"/>
                  <a:gd name="connsiteX69" fmla="*/ 577445 w 849600"/>
                  <a:gd name="connsiteY69" fmla="*/ 849600 h 849600"/>
                  <a:gd name="connsiteX70" fmla="*/ 611389 w 849600"/>
                  <a:gd name="connsiteY70" fmla="*/ 849600 h 849600"/>
                  <a:gd name="connsiteX71" fmla="*/ 645332 w 849600"/>
                  <a:gd name="connsiteY71" fmla="*/ 849600 h 849600"/>
                  <a:gd name="connsiteX72" fmla="*/ 679276 w 849600"/>
                  <a:gd name="connsiteY72" fmla="*/ 849600 h 849600"/>
                  <a:gd name="connsiteX73" fmla="*/ 713220 w 849600"/>
                  <a:gd name="connsiteY73" fmla="*/ 849600 h 849600"/>
                  <a:gd name="connsiteX74" fmla="*/ 747567 w 849600"/>
                  <a:gd name="connsiteY74" fmla="*/ 849600 h 849600"/>
                  <a:gd name="connsiteX75" fmla="*/ 747567 w 849600"/>
                  <a:gd name="connsiteY75" fmla="*/ 815656 h 849600"/>
                  <a:gd name="connsiteX76" fmla="*/ 781511 w 849600"/>
                  <a:gd name="connsiteY76" fmla="*/ 815656 h 849600"/>
                  <a:gd name="connsiteX77" fmla="*/ 781511 w 849600"/>
                  <a:gd name="connsiteY77" fmla="*/ 781713 h 849600"/>
                  <a:gd name="connsiteX78" fmla="*/ 815454 w 849600"/>
                  <a:gd name="connsiteY78" fmla="*/ 781713 h 849600"/>
                  <a:gd name="connsiteX79" fmla="*/ 815454 w 849600"/>
                  <a:gd name="connsiteY79" fmla="*/ 747567 h 849600"/>
                  <a:gd name="connsiteX80" fmla="*/ 849600 w 849600"/>
                  <a:gd name="connsiteY80" fmla="*/ 747567 h 849600"/>
                  <a:gd name="connsiteX81" fmla="*/ 849600 w 849600"/>
                  <a:gd name="connsiteY81" fmla="*/ 713624 h 849600"/>
                  <a:gd name="connsiteX82" fmla="*/ 849600 w 849600"/>
                  <a:gd name="connsiteY82" fmla="*/ 679680 h 849600"/>
                  <a:gd name="connsiteX83" fmla="*/ 849600 w 849600"/>
                  <a:gd name="connsiteY83" fmla="*/ 645736 h 849600"/>
                  <a:gd name="connsiteX84" fmla="*/ 849600 w 849600"/>
                  <a:gd name="connsiteY84" fmla="*/ 611793 h 849600"/>
                  <a:gd name="connsiteX85" fmla="*/ 849600 w 849600"/>
                  <a:gd name="connsiteY85" fmla="*/ 577849 h 849600"/>
                  <a:gd name="connsiteX86" fmla="*/ 849600 w 849600"/>
                  <a:gd name="connsiteY86" fmla="*/ 543906 h 849600"/>
                  <a:gd name="connsiteX87" fmla="*/ 849600 w 849600"/>
                  <a:gd name="connsiteY87" fmla="*/ 509962 h 849600"/>
                  <a:gd name="connsiteX88" fmla="*/ 849600 w 849600"/>
                  <a:gd name="connsiteY88" fmla="*/ 476018 h 849600"/>
                  <a:gd name="connsiteX89" fmla="*/ 849600 w 849600"/>
                  <a:gd name="connsiteY89" fmla="*/ 442075 h 849600"/>
                  <a:gd name="connsiteX90" fmla="*/ 849600 w 849600"/>
                  <a:gd name="connsiteY90" fmla="*/ 408131 h 849600"/>
                  <a:gd name="connsiteX91" fmla="*/ 849600 w 849600"/>
                  <a:gd name="connsiteY91" fmla="*/ 373784 h 849600"/>
                  <a:gd name="connsiteX92" fmla="*/ 849600 w 849600"/>
                  <a:gd name="connsiteY92" fmla="*/ 339840 h 849600"/>
                  <a:gd name="connsiteX93" fmla="*/ 849600 w 849600"/>
                  <a:gd name="connsiteY93" fmla="*/ 305896 h 849600"/>
                  <a:gd name="connsiteX94" fmla="*/ 849600 w 849600"/>
                  <a:gd name="connsiteY94" fmla="*/ 271953 h 849600"/>
                  <a:gd name="connsiteX95" fmla="*/ 849600 w 849600"/>
                  <a:gd name="connsiteY95" fmla="*/ 238009 h 849600"/>
                  <a:gd name="connsiteX96" fmla="*/ 849600 w 849600"/>
                  <a:gd name="connsiteY96" fmla="*/ 204066 h 849600"/>
                  <a:gd name="connsiteX97" fmla="*/ 849600 w 849600"/>
                  <a:gd name="connsiteY97" fmla="*/ 170122 h 849600"/>
                  <a:gd name="connsiteX98" fmla="*/ 849600 w 849600"/>
                  <a:gd name="connsiteY98" fmla="*/ 136178 h 849600"/>
                  <a:gd name="connsiteX99" fmla="*/ 849600 w 849600"/>
                  <a:gd name="connsiteY99" fmla="*/ 102235 h 849600"/>
                  <a:gd name="connsiteX100" fmla="*/ 815555 w 849600"/>
                  <a:gd name="connsiteY100" fmla="*/ 102235 h 849600"/>
                  <a:gd name="connsiteX101" fmla="*/ 713624 w 849600"/>
                  <a:gd name="connsiteY101" fmla="*/ 475715 h 849600"/>
                  <a:gd name="connsiteX102" fmla="*/ 713624 w 849600"/>
                  <a:gd name="connsiteY102" fmla="*/ 509659 h 849600"/>
                  <a:gd name="connsiteX103" fmla="*/ 713624 w 849600"/>
                  <a:gd name="connsiteY103" fmla="*/ 543603 h 849600"/>
                  <a:gd name="connsiteX104" fmla="*/ 713624 w 849600"/>
                  <a:gd name="connsiteY104" fmla="*/ 577546 h 849600"/>
                  <a:gd name="connsiteX105" fmla="*/ 713624 w 849600"/>
                  <a:gd name="connsiteY105" fmla="*/ 611490 h 849600"/>
                  <a:gd name="connsiteX106" fmla="*/ 679680 w 849600"/>
                  <a:gd name="connsiteY106" fmla="*/ 611490 h 849600"/>
                  <a:gd name="connsiteX107" fmla="*/ 679680 w 849600"/>
                  <a:gd name="connsiteY107" fmla="*/ 645433 h 849600"/>
                  <a:gd name="connsiteX108" fmla="*/ 645736 w 849600"/>
                  <a:gd name="connsiteY108" fmla="*/ 645433 h 849600"/>
                  <a:gd name="connsiteX109" fmla="*/ 645736 w 849600"/>
                  <a:gd name="connsiteY109" fmla="*/ 679377 h 849600"/>
                  <a:gd name="connsiteX110" fmla="*/ 611793 w 849600"/>
                  <a:gd name="connsiteY110" fmla="*/ 679377 h 849600"/>
                  <a:gd name="connsiteX111" fmla="*/ 577849 w 849600"/>
                  <a:gd name="connsiteY111" fmla="*/ 679377 h 849600"/>
                  <a:gd name="connsiteX112" fmla="*/ 577849 w 849600"/>
                  <a:gd name="connsiteY112" fmla="*/ 713321 h 849600"/>
                  <a:gd name="connsiteX113" fmla="*/ 543906 w 849600"/>
                  <a:gd name="connsiteY113" fmla="*/ 713321 h 849600"/>
                  <a:gd name="connsiteX114" fmla="*/ 509962 w 849600"/>
                  <a:gd name="connsiteY114" fmla="*/ 713321 h 849600"/>
                  <a:gd name="connsiteX115" fmla="*/ 476018 w 849600"/>
                  <a:gd name="connsiteY115" fmla="*/ 713321 h 849600"/>
                  <a:gd name="connsiteX116" fmla="*/ 442075 w 849600"/>
                  <a:gd name="connsiteY116" fmla="*/ 713321 h 849600"/>
                  <a:gd name="connsiteX117" fmla="*/ 408131 w 849600"/>
                  <a:gd name="connsiteY117" fmla="*/ 713321 h 849600"/>
                  <a:gd name="connsiteX118" fmla="*/ 373784 w 849600"/>
                  <a:gd name="connsiteY118" fmla="*/ 713321 h 849600"/>
                  <a:gd name="connsiteX119" fmla="*/ 339840 w 849600"/>
                  <a:gd name="connsiteY119" fmla="*/ 713321 h 849600"/>
                  <a:gd name="connsiteX120" fmla="*/ 305896 w 849600"/>
                  <a:gd name="connsiteY120" fmla="*/ 713321 h 849600"/>
                  <a:gd name="connsiteX121" fmla="*/ 271953 w 849600"/>
                  <a:gd name="connsiteY121" fmla="*/ 713321 h 849600"/>
                  <a:gd name="connsiteX122" fmla="*/ 271953 w 849600"/>
                  <a:gd name="connsiteY122" fmla="*/ 679377 h 849600"/>
                  <a:gd name="connsiteX123" fmla="*/ 238009 w 849600"/>
                  <a:gd name="connsiteY123" fmla="*/ 679377 h 849600"/>
                  <a:gd name="connsiteX124" fmla="*/ 238009 w 849600"/>
                  <a:gd name="connsiteY124" fmla="*/ 645433 h 849600"/>
                  <a:gd name="connsiteX125" fmla="*/ 204066 w 849600"/>
                  <a:gd name="connsiteY125" fmla="*/ 645433 h 849600"/>
                  <a:gd name="connsiteX126" fmla="*/ 204066 w 849600"/>
                  <a:gd name="connsiteY126" fmla="*/ 611490 h 849600"/>
                  <a:gd name="connsiteX127" fmla="*/ 170122 w 849600"/>
                  <a:gd name="connsiteY127" fmla="*/ 611490 h 849600"/>
                  <a:gd name="connsiteX128" fmla="*/ 170122 w 849600"/>
                  <a:gd name="connsiteY128" fmla="*/ 577546 h 849600"/>
                  <a:gd name="connsiteX129" fmla="*/ 170122 w 849600"/>
                  <a:gd name="connsiteY129" fmla="*/ 543603 h 849600"/>
                  <a:gd name="connsiteX130" fmla="*/ 170122 w 849600"/>
                  <a:gd name="connsiteY130" fmla="*/ 509659 h 849600"/>
                  <a:gd name="connsiteX131" fmla="*/ 170122 w 849600"/>
                  <a:gd name="connsiteY131" fmla="*/ 475715 h 849600"/>
                  <a:gd name="connsiteX132" fmla="*/ 170122 w 849600"/>
                  <a:gd name="connsiteY132" fmla="*/ 441772 h 849600"/>
                  <a:gd name="connsiteX133" fmla="*/ 170122 w 849600"/>
                  <a:gd name="connsiteY133" fmla="*/ 407828 h 849600"/>
                  <a:gd name="connsiteX134" fmla="*/ 170122 w 849600"/>
                  <a:gd name="connsiteY134" fmla="*/ 373784 h 849600"/>
                  <a:gd name="connsiteX135" fmla="*/ 170122 w 849600"/>
                  <a:gd name="connsiteY135" fmla="*/ 339840 h 849600"/>
                  <a:gd name="connsiteX136" fmla="*/ 170122 w 849600"/>
                  <a:gd name="connsiteY136" fmla="*/ 305896 h 849600"/>
                  <a:gd name="connsiteX137" fmla="*/ 170122 w 849600"/>
                  <a:gd name="connsiteY137" fmla="*/ 271953 h 849600"/>
                  <a:gd name="connsiteX138" fmla="*/ 170122 w 849600"/>
                  <a:gd name="connsiteY138" fmla="*/ 238009 h 849600"/>
                  <a:gd name="connsiteX139" fmla="*/ 204066 w 849600"/>
                  <a:gd name="connsiteY139" fmla="*/ 238009 h 849600"/>
                  <a:gd name="connsiteX140" fmla="*/ 204066 w 849600"/>
                  <a:gd name="connsiteY140" fmla="*/ 204066 h 849600"/>
                  <a:gd name="connsiteX141" fmla="*/ 238009 w 849600"/>
                  <a:gd name="connsiteY141" fmla="*/ 204066 h 849600"/>
                  <a:gd name="connsiteX142" fmla="*/ 238009 w 849600"/>
                  <a:gd name="connsiteY142" fmla="*/ 170122 h 849600"/>
                  <a:gd name="connsiteX143" fmla="*/ 271953 w 849600"/>
                  <a:gd name="connsiteY143" fmla="*/ 170122 h 849600"/>
                  <a:gd name="connsiteX144" fmla="*/ 305896 w 849600"/>
                  <a:gd name="connsiteY144" fmla="*/ 170122 h 849600"/>
                  <a:gd name="connsiteX145" fmla="*/ 339840 w 849600"/>
                  <a:gd name="connsiteY145" fmla="*/ 170122 h 849600"/>
                  <a:gd name="connsiteX146" fmla="*/ 373784 w 849600"/>
                  <a:gd name="connsiteY146" fmla="*/ 170122 h 849600"/>
                  <a:gd name="connsiteX147" fmla="*/ 407727 w 849600"/>
                  <a:gd name="connsiteY147" fmla="*/ 170122 h 849600"/>
                  <a:gd name="connsiteX148" fmla="*/ 441671 w 849600"/>
                  <a:gd name="connsiteY148" fmla="*/ 170122 h 849600"/>
                  <a:gd name="connsiteX149" fmla="*/ 475614 w 849600"/>
                  <a:gd name="connsiteY149" fmla="*/ 170122 h 849600"/>
                  <a:gd name="connsiteX150" fmla="*/ 509558 w 849600"/>
                  <a:gd name="connsiteY150" fmla="*/ 170122 h 849600"/>
                  <a:gd name="connsiteX151" fmla="*/ 509558 w 849600"/>
                  <a:gd name="connsiteY151" fmla="*/ 204066 h 849600"/>
                  <a:gd name="connsiteX152" fmla="*/ 543502 w 849600"/>
                  <a:gd name="connsiteY152" fmla="*/ 204066 h 849600"/>
                  <a:gd name="connsiteX153" fmla="*/ 543502 w 849600"/>
                  <a:gd name="connsiteY153" fmla="*/ 238009 h 849600"/>
                  <a:gd name="connsiteX154" fmla="*/ 577445 w 849600"/>
                  <a:gd name="connsiteY154" fmla="*/ 238009 h 849600"/>
                  <a:gd name="connsiteX155" fmla="*/ 577445 w 849600"/>
                  <a:gd name="connsiteY155" fmla="*/ 271953 h 849600"/>
                  <a:gd name="connsiteX156" fmla="*/ 611389 w 849600"/>
                  <a:gd name="connsiteY156" fmla="*/ 271953 h 849600"/>
                  <a:gd name="connsiteX157" fmla="*/ 611389 w 849600"/>
                  <a:gd name="connsiteY157" fmla="*/ 305896 h 849600"/>
                  <a:gd name="connsiteX158" fmla="*/ 611389 w 849600"/>
                  <a:gd name="connsiteY158" fmla="*/ 339840 h 849600"/>
                  <a:gd name="connsiteX159" fmla="*/ 577445 w 849600"/>
                  <a:gd name="connsiteY159" fmla="*/ 339840 h 849600"/>
                  <a:gd name="connsiteX160" fmla="*/ 577445 w 849600"/>
                  <a:gd name="connsiteY160" fmla="*/ 373784 h 849600"/>
                  <a:gd name="connsiteX161" fmla="*/ 577445 w 849600"/>
                  <a:gd name="connsiteY161" fmla="*/ 407727 h 849600"/>
                  <a:gd name="connsiteX162" fmla="*/ 611389 w 849600"/>
                  <a:gd name="connsiteY162" fmla="*/ 407727 h 849600"/>
                  <a:gd name="connsiteX163" fmla="*/ 645332 w 849600"/>
                  <a:gd name="connsiteY163" fmla="*/ 407727 h 849600"/>
                  <a:gd name="connsiteX164" fmla="*/ 679276 w 849600"/>
                  <a:gd name="connsiteY164" fmla="*/ 407727 h 849600"/>
                  <a:gd name="connsiteX165" fmla="*/ 679276 w 849600"/>
                  <a:gd name="connsiteY165" fmla="*/ 441671 h 849600"/>
                  <a:gd name="connsiteX166" fmla="*/ 713220 w 849600"/>
                  <a:gd name="connsiteY166" fmla="*/ 441671 h 849600"/>
                  <a:gd name="connsiteX167" fmla="*/ 713220 w 849600"/>
                  <a:gd name="connsiteY167" fmla="*/ 475715 h 849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</a:cxnLst>
                <a:rect l="l" t="t" r="r" b="b"/>
                <a:pathLst>
                  <a:path w="849600" h="849600">
                    <a:moveTo>
                      <a:pt x="815555" y="101932"/>
                    </a:moveTo>
                    <a:lnTo>
                      <a:pt x="815555" y="67988"/>
                    </a:lnTo>
                    <a:lnTo>
                      <a:pt x="781612" y="67988"/>
                    </a:lnTo>
                    <a:lnTo>
                      <a:pt x="781612" y="33944"/>
                    </a:lnTo>
                    <a:lnTo>
                      <a:pt x="747567" y="33944"/>
                    </a:lnTo>
                    <a:lnTo>
                      <a:pt x="747567" y="0"/>
                    </a:lnTo>
                    <a:lnTo>
                      <a:pt x="713624" y="0"/>
                    </a:lnTo>
                    <a:lnTo>
                      <a:pt x="679680" y="0"/>
                    </a:lnTo>
                    <a:lnTo>
                      <a:pt x="645736" y="0"/>
                    </a:lnTo>
                    <a:lnTo>
                      <a:pt x="611793" y="0"/>
                    </a:lnTo>
                    <a:lnTo>
                      <a:pt x="577849" y="0"/>
                    </a:lnTo>
                    <a:lnTo>
                      <a:pt x="543906" y="0"/>
                    </a:lnTo>
                    <a:lnTo>
                      <a:pt x="509962" y="0"/>
                    </a:lnTo>
                    <a:lnTo>
                      <a:pt x="476018" y="0"/>
                    </a:lnTo>
                    <a:lnTo>
                      <a:pt x="442075" y="0"/>
                    </a:lnTo>
                    <a:lnTo>
                      <a:pt x="408131" y="0"/>
                    </a:lnTo>
                    <a:lnTo>
                      <a:pt x="373784" y="0"/>
                    </a:lnTo>
                    <a:lnTo>
                      <a:pt x="339840" y="0"/>
                    </a:lnTo>
                    <a:lnTo>
                      <a:pt x="305896" y="0"/>
                    </a:lnTo>
                    <a:lnTo>
                      <a:pt x="271953" y="0"/>
                    </a:lnTo>
                    <a:lnTo>
                      <a:pt x="238009" y="0"/>
                    </a:lnTo>
                    <a:lnTo>
                      <a:pt x="204066" y="0"/>
                    </a:lnTo>
                    <a:lnTo>
                      <a:pt x="170122" y="0"/>
                    </a:lnTo>
                    <a:lnTo>
                      <a:pt x="136178" y="0"/>
                    </a:lnTo>
                    <a:lnTo>
                      <a:pt x="102235" y="0"/>
                    </a:lnTo>
                    <a:lnTo>
                      <a:pt x="102235" y="33944"/>
                    </a:lnTo>
                    <a:lnTo>
                      <a:pt x="67988" y="33944"/>
                    </a:lnTo>
                    <a:lnTo>
                      <a:pt x="67988" y="67887"/>
                    </a:lnTo>
                    <a:lnTo>
                      <a:pt x="33944" y="67887"/>
                    </a:lnTo>
                    <a:lnTo>
                      <a:pt x="33944" y="101831"/>
                    </a:lnTo>
                    <a:lnTo>
                      <a:pt x="0" y="101831"/>
                    </a:lnTo>
                    <a:lnTo>
                      <a:pt x="0" y="135774"/>
                    </a:lnTo>
                    <a:lnTo>
                      <a:pt x="0" y="169718"/>
                    </a:lnTo>
                    <a:lnTo>
                      <a:pt x="0" y="203662"/>
                    </a:lnTo>
                    <a:lnTo>
                      <a:pt x="0" y="237605"/>
                    </a:lnTo>
                    <a:lnTo>
                      <a:pt x="0" y="271549"/>
                    </a:lnTo>
                    <a:lnTo>
                      <a:pt x="0" y="305492"/>
                    </a:lnTo>
                    <a:lnTo>
                      <a:pt x="0" y="339436"/>
                    </a:lnTo>
                    <a:lnTo>
                      <a:pt x="0" y="373784"/>
                    </a:lnTo>
                    <a:lnTo>
                      <a:pt x="0" y="407727"/>
                    </a:lnTo>
                    <a:lnTo>
                      <a:pt x="0" y="441671"/>
                    </a:lnTo>
                    <a:lnTo>
                      <a:pt x="0" y="475614"/>
                    </a:lnTo>
                    <a:lnTo>
                      <a:pt x="0" y="509558"/>
                    </a:lnTo>
                    <a:lnTo>
                      <a:pt x="0" y="543502"/>
                    </a:lnTo>
                    <a:lnTo>
                      <a:pt x="0" y="577445"/>
                    </a:lnTo>
                    <a:lnTo>
                      <a:pt x="0" y="611389"/>
                    </a:lnTo>
                    <a:lnTo>
                      <a:pt x="0" y="645332"/>
                    </a:lnTo>
                    <a:lnTo>
                      <a:pt x="0" y="679276"/>
                    </a:lnTo>
                    <a:lnTo>
                      <a:pt x="0" y="713220"/>
                    </a:lnTo>
                    <a:lnTo>
                      <a:pt x="0" y="747567"/>
                    </a:lnTo>
                    <a:lnTo>
                      <a:pt x="33944" y="747567"/>
                    </a:lnTo>
                    <a:lnTo>
                      <a:pt x="33944" y="781511"/>
                    </a:lnTo>
                    <a:lnTo>
                      <a:pt x="67887" y="781511"/>
                    </a:lnTo>
                    <a:lnTo>
                      <a:pt x="67887" y="815454"/>
                    </a:lnTo>
                    <a:lnTo>
                      <a:pt x="101831" y="815454"/>
                    </a:lnTo>
                    <a:lnTo>
                      <a:pt x="101831" y="849600"/>
                    </a:lnTo>
                    <a:lnTo>
                      <a:pt x="135774" y="849600"/>
                    </a:lnTo>
                    <a:lnTo>
                      <a:pt x="169718" y="849600"/>
                    </a:lnTo>
                    <a:lnTo>
                      <a:pt x="203662" y="849600"/>
                    </a:lnTo>
                    <a:lnTo>
                      <a:pt x="237605" y="849600"/>
                    </a:lnTo>
                    <a:lnTo>
                      <a:pt x="271549" y="849600"/>
                    </a:lnTo>
                    <a:lnTo>
                      <a:pt x="305492" y="849600"/>
                    </a:lnTo>
                    <a:lnTo>
                      <a:pt x="339436" y="849600"/>
                    </a:lnTo>
                    <a:lnTo>
                      <a:pt x="373784" y="849600"/>
                    </a:lnTo>
                    <a:lnTo>
                      <a:pt x="407727" y="849600"/>
                    </a:lnTo>
                    <a:lnTo>
                      <a:pt x="441671" y="849600"/>
                    </a:lnTo>
                    <a:lnTo>
                      <a:pt x="475614" y="849600"/>
                    </a:lnTo>
                    <a:lnTo>
                      <a:pt x="509558" y="849600"/>
                    </a:lnTo>
                    <a:lnTo>
                      <a:pt x="543502" y="849600"/>
                    </a:lnTo>
                    <a:lnTo>
                      <a:pt x="577445" y="849600"/>
                    </a:lnTo>
                    <a:lnTo>
                      <a:pt x="611389" y="849600"/>
                    </a:lnTo>
                    <a:lnTo>
                      <a:pt x="645332" y="849600"/>
                    </a:lnTo>
                    <a:lnTo>
                      <a:pt x="679276" y="849600"/>
                    </a:lnTo>
                    <a:lnTo>
                      <a:pt x="713220" y="849600"/>
                    </a:lnTo>
                    <a:lnTo>
                      <a:pt x="747567" y="849600"/>
                    </a:lnTo>
                    <a:lnTo>
                      <a:pt x="747567" y="815656"/>
                    </a:lnTo>
                    <a:lnTo>
                      <a:pt x="781511" y="815656"/>
                    </a:lnTo>
                    <a:lnTo>
                      <a:pt x="781511" y="781713"/>
                    </a:lnTo>
                    <a:lnTo>
                      <a:pt x="815454" y="781713"/>
                    </a:lnTo>
                    <a:lnTo>
                      <a:pt x="815454" y="747567"/>
                    </a:lnTo>
                    <a:lnTo>
                      <a:pt x="849600" y="747567"/>
                    </a:lnTo>
                    <a:lnTo>
                      <a:pt x="849600" y="713624"/>
                    </a:lnTo>
                    <a:lnTo>
                      <a:pt x="849600" y="679680"/>
                    </a:lnTo>
                    <a:lnTo>
                      <a:pt x="849600" y="645736"/>
                    </a:lnTo>
                    <a:lnTo>
                      <a:pt x="849600" y="611793"/>
                    </a:lnTo>
                    <a:lnTo>
                      <a:pt x="849600" y="577849"/>
                    </a:lnTo>
                    <a:lnTo>
                      <a:pt x="849600" y="543906"/>
                    </a:lnTo>
                    <a:lnTo>
                      <a:pt x="849600" y="509962"/>
                    </a:lnTo>
                    <a:lnTo>
                      <a:pt x="849600" y="476018"/>
                    </a:lnTo>
                    <a:lnTo>
                      <a:pt x="849600" y="442075"/>
                    </a:lnTo>
                    <a:lnTo>
                      <a:pt x="849600" y="408131"/>
                    </a:lnTo>
                    <a:lnTo>
                      <a:pt x="849600" y="373784"/>
                    </a:lnTo>
                    <a:lnTo>
                      <a:pt x="849600" y="339840"/>
                    </a:lnTo>
                    <a:lnTo>
                      <a:pt x="849600" y="305896"/>
                    </a:lnTo>
                    <a:lnTo>
                      <a:pt x="849600" y="271953"/>
                    </a:lnTo>
                    <a:lnTo>
                      <a:pt x="849600" y="238009"/>
                    </a:lnTo>
                    <a:lnTo>
                      <a:pt x="849600" y="204066"/>
                    </a:lnTo>
                    <a:lnTo>
                      <a:pt x="849600" y="170122"/>
                    </a:lnTo>
                    <a:lnTo>
                      <a:pt x="849600" y="136178"/>
                    </a:lnTo>
                    <a:lnTo>
                      <a:pt x="849600" y="102235"/>
                    </a:lnTo>
                    <a:lnTo>
                      <a:pt x="815555" y="102235"/>
                    </a:lnTo>
                    <a:close/>
                    <a:moveTo>
                      <a:pt x="713624" y="475715"/>
                    </a:moveTo>
                    <a:lnTo>
                      <a:pt x="713624" y="509659"/>
                    </a:lnTo>
                    <a:lnTo>
                      <a:pt x="713624" y="543603"/>
                    </a:lnTo>
                    <a:lnTo>
                      <a:pt x="713624" y="577546"/>
                    </a:lnTo>
                    <a:lnTo>
                      <a:pt x="713624" y="611490"/>
                    </a:lnTo>
                    <a:lnTo>
                      <a:pt x="679680" y="611490"/>
                    </a:lnTo>
                    <a:lnTo>
                      <a:pt x="679680" y="645433"/>
                    </a:lnTo>
                    <a:lnTo>
                      <a:pt x="645736" y="645433"/>
                    </a:lnTo>
                    <a:lnTo>
                      <a:pt x="645736" y="679377"/>
                    </a:lnTo>
                    <a:lnTo>
                      <a:pt x="611793" y="679377"/>
                    </a:lnTo>
                    <a:lnTo>
                      <a:pt x="577849" y="679377"/>
                    </a:lnTo>
                    <a:lnTo>
                      <a:pt x="577849" y="713321"/>
                    </a:lnTo>
                    <a:lnTo>
                      <a:pt x="543906" y="713321"/>
                    </a:lnTo>
                    <a:lnTo>
                      <a:pt x="509962" y="713321"/>
                    </a:lnTo>
                    <a:lnTo>
                      <a:pt x="476018" y="713321"/>
                    </a:lnTo>
                    <a:lnTo>
                      <a:pt x="442075" y="713321"/>
                    </a:lnTo>
                    <a:lnTo>
                      <a:pt x="408131" y="713321"/>
                    </a:lnTo>
                    <a:lnTo>
                      <a:pt x="373784" y="713321"/>
                    </a:lnTo>
                    <a:lnTo>
                      <a:pt x="339840" y="713321"/>
                    </a:lnTo>
                    <a:lnTo>
                      <a:pt x="305896" y="713321"/>
                    </a:lnTo>
                    <a:lnTo>
                      <a:pt x="271953" y="713321"/>
                    </a:lnTo>
                    <a:lnTo>
                      <a:pt x="271953" y="679377"/>
                    </a:lnTo>
                    <a:lnTo>
                      <a:pt x="238009" y="679377"/>
                    </a:lnTo>
                    <a:lnTo>
                      <a:pt x="238009" y="645433"/>
                    </a:lnTo>
                    <a:lnTo>
                      <a:pt x="204066" y="645433"/>
                    </a:lnTo>
                    <a:lnTo>
                      <a:pt x="204066" y="611490"/>
                    </a:lnTo>
                    <a:lnTo>
                      <a:pt x="170122" y="611490"/>
                    </a:lnTo>
                    <a:lnTo>
                      <a:pt x="170122" y="577546"/>
                    </a:lnTo>
                    <a:lnTo>
                      <a:pt x="170122" y="543603"/>
                    </a:lnTo>
                    <a:lnTo>
                      <a:pt x="170122" y="509659"/>
                    </a:lnTo>
                    <a:lnTo>
                      <a:pt x="170122" y="475715"/>
                    </a:lnTo>
                    <a:lnTo>
                      <a:pt x="170122" y="441772"/>
                    </a:lnTo>
                    <a:lnTo>
                      <a:pt x="170122" y="407828"/>
                    </a:lnTo>
                    <a:lnTo>
                      <a:pt x="170122" y="373784"/>
                    </a:lnTo>
                    <a:lnTo>
                      <a:pt x="170122" y="339840"/>
                    </a:lnTo>
                    <a:lnTo>
                      <a:pt x="170122" y="305896"/>
                    </a:lnTo>
                    <a:lnTo>
                      <a:pt x="170122" y="271953"/>
                    </a:lnTo>
                    <a:lnTo>
                      <a:pt x="170122" y="238009"/>
                    </a:lnTo>
                    <a:lnTo>
                      <a:pt x="204066" y="238009"/>
                    </a:lnTo>
                    <a:lnTo>
                      <a:pt x="204066" y="204066"/>
                    </a:lnTo>
                    <a:lnTo>
                      <a:pt x="238009" y="204066"/>
                    </a:lnTo>
                    <a:lnTo>
                      <a:pt x="238009" y="170122"/>
                    </a:lnTo>
                    <a:lnTo>
                      <a:pt x="271953" y="170122"/>
                    </a:lnTo>
                    <a:lnTo>
                      <a:pt x="305896" y="170122"/>
                    </a:lnTo>
                    <a:lnTo>
                      <a:pt x="339840" y="170122"/>
                    </a:lnTo>
                    <a:lnTo>
                      <a:pt x="373784" y="170122"/>
                    </a:lnTo>
                    <a:lnTo>
                      <a:pt x="407727" y="170122"/>
                    </a:lnTo>
                    <a:lnTo>
                      <a:pt x="441671" y="170122"/>
                    </a:lnTo>
                    <a:lnTo>
                      <a:pt x="475614" y="170122"/>
                    </a:lnTo>
                    <a:lnTo>
                      <a:pt x="509558" y="170122"/>
                    </a:lnTo>
                    <a:lnTo>
                      <a:pt x="509558" y="204066"/>
                    </a:lnTo>
                    <a:lnTo>
                      <a:pt x="543502" y="204066"/>
                    </a:lnTo>
                    <a:lnTo>
                      <a:pt x="543502" y="238009"/>
                    </a:lnTo>
                    <a:lnTo>
                      <a:pt x="577445" y="238009"/>
                    </a:lnTo>
                    <a:lnTo>
                      <a:pt x="577445" y="271953"/>
                    </a:lnTo>
                    <a:lnTo>
                      <a:pt x="611389" y="271953"/>
                    </a:lnTo>
                    <a:lnTo>
                      <a:pt x="611389" y="305896"/>
                    </a:lnTo>
                    <a:lnTo>
                      <a:pt x="611389" y="339840"/>
                    </a:lnTo>
                    <a:lnTo>
                      <a:pt x="577445" y="339840"/>
                    </a:lnTo>
                    <a:lnTo>
                      <a:pt x="577445" y="373784"/>
                    </a:lnTo>
                    <a:lnTo>
                      <a:pt x="577445" y="407727"/>
                    </a:lnTo>
                    <a:lnTo>
                      <a:pt x="611389" y="407727"/>
                    </a:lnTo>
                    <a:lnTo>
                      <a:pt x="645332" y="407727"/>
                    </a:lnTo>
                    <a:lnTo>
                      <a:pt x="679276" y="407727"/>
                    </a:lnTo>
                    <a:lnTo>
                      <a:pt x="679276" y="441671"/>
                    </a:lnTo>
                    <a:lnTo>
                      <a:pt x="713220" y="441671"/>
                    </a:lnTo>
                    <a:lnTo>
                      <a:pt x="713220" y="475715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3A19CBAC-06D6-CD0B-B572-77B8A2A6C5A8}"/>
                  </a:ext>
                </a:extLst>
              </p:cNvPr>
              <p:cNvSpPr/>
              <p:nvPr/>
            </p:nvSpPr>
            <p:spPr>
              <a:xfrm>
                <a:off x="-3510205" y="3866906"/>
                <a:ext cx="271851" cy="67887"/>
              </a:xfrm>
              <a:custGeom>
                <a:avLst/>
                <a:gdLst>
                  <a:gd name="connsiteX0" fmla="*/ 203965 w 271851"/>
                  <a:gd name="connsiteY0" fmla="*/ 0 h 67887"/>
                  <a:gd name="connsiteX1" fmla="*/ 169920 w 271851"/>
                  <a:gd name="connsiteY1" fmla="*/ 0 h 67887"/>
                  <a:gd name="connsiteX2" fmla="*/ 135976 w 271851"/>
                  <a:gd name="connsiteY2" fmla="*/ 0 h 67887"/>
                  <a:gd name="connsiteX3" fmla="*/ 102033 w 271851"/>
                  <a:gd name="connsiteY3" fmla="*/ 0 h 67887"/>
                  <a:gd name="connsiteX4" fmla="*/ 67988 w 271851"/>
                  <a:gd name="connsiteY4" fmla="*/ 0 h 67887"/>
                  <a:gd name="connsiteX5" fmla="*/ 34045 w 271851"/>
                  <a:gd name="connsiteY5" fmla="*/ 0 h 67887"/>
                  <a:gd name="connsiteX6" fmla="*/ 0 w 271851"/>
                  <a:gd name="connsiteY6" fmla="*/ 0 h 67887"/>
                  <a:gd name="connsiteX7" fmla="*/ 0 w 271851"/>
                  <a:gd name="connsiteY7" fmla="*/ 33944 h 67887"/>
                  <a:gd name="connsiteX8" fmla="*/ 0 w 271851"/>
                  <a:gd name="connsiteY8" fmla="*/ 67887 h 67887"/>
                  <a:gd name="connsiteX9" fmla="*/ 34045 w 271851"/>
                  <a:gd name="connsiteY9" fmla="*/ 67887 h 67887"/>
                  <a:gd name="connsiteX10" fmla="*/ 67988 w 271851"/>
                  <a:gd name="connsiteY10" fmla="*/ 67887 h 67887"/>
                  <a:gd name="connsiteX11" fmla="*/ 102033 w 271851"/>
                  <a:gd name="connsiteY11" fmla="*/ 67887 h 67887"/>
                  <a:gd name="connsiteX12" fmla="*/ 135976 w 271851"/>
                  <a:gd name="connsiteY12" fmla="*/ 67887 h 67887"/>
                  <a:gd name="connsiteX13" fmla="*/ 169920 w 271851"/>
                  <a:gd name="connsiteY13" fmla="*/ 67887 h 67887"/>
                  <a:gd name="connsiteX14" fmla="*/ 203965 w 271851"/>
                  <a:gd name="connsiteY14" fmla="*/ 67887 h 67887"/>
                  <a:gd name="connsiteX15" fmla="*/ 237908 w 271851"/>
                  <a:gd name="connsiteY15" fmla="*/ 67887 h 67887"/>
                  <a:gd name="connsiteX16" fmla="*/ 271852 w 271851"/>
                  <a:gd name="connsiteY16" fmla="*/ 67887 h 67887"/>
                  <a:gd name="connsiteX17" fmla="*/ 271852 w 271851"/>
                  <a:gd name="connsiteY17" fmla="*/ 33944 h 67887"/>
                  <a:gd name="connsiteX18" fmla="*/ 271852 w 271851"/>
                  <a:gd name="connsiteY18" fmla="*/ 0 h 67887"/>
                  <a:gd name="connsiteX19" fmla="*/ 237908 w 271851"/>
                  <a:gd name="connsiteY19" fmla="*/ 0 h 67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71851" h="67887">
                    <a:moveTo>
                      <a:pt x="203965" y="0"/>
                    </a:moveTo>
                    <a:lnTo>
                      <a:pt x="169920" y="0"/>
                    </a:lnTo>
                    <a:lnTo>
                      <a:pt x="135976" y="0"/>
                    </a:lnTo>
                    <a:lnTo>
                      <a:pt x="102033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0" y="0"/>
                    </a:lnTo>
                    <a:lnTo>
                      <a:pt x="0" y="33944"/>
                    </a:lnTo>
                    <a:lnTo>
                      <a:pt x="0" y="67887"/>
                    </a:lnTo>
                    <a:lnTo>
                      <a:pt x="34045" y="67887"/>
                    </a:lnTo>
                    <a:lnTo>
                      <a:pt x="67988" y="67887"/>
                    </a:lnTo>
                    <a:lnTo>
                      <a:pt x="102033" y="67887"/>
                    </a:lnTo>
                    <a:lnTo>
                      <a:pt x="135976" y="67887"/>
                    </a:lnTo>
                    <a:lnTo>
                      <a:pt x="169920" y="67887"/>
                    </a:lnTo>
                    <a:lnTo>
                      <a:pt x="203965" y="67887"/>
                    </a:lnTo>
                    <a:lnTo>
                      <a:pt x="237908" y="67887"/>
                    </a:lnTo>
                    <a:lnTo>
                      <a:pt x="271852" y="67887"/>
                    </a:lnTo>
                    <a:lnTo>
                      <a:pt x="271852" y="33944"/>
                    </a:lnTo>
                    <a:lnTo>
                      <a:pt x="271852" y="0"/>
                    </a:lnTo>
                    <a:lnTo>
                      <a:pt x="237908" y="0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24FF2CA4-0EA1-AF2F-4501-3219E960D69E}"/>
                  </a:ext>
                </a:extLst>
              </p:cNvPr>
              <p:cNvSpPr/>
              <p:nvPr/>
            </p:nvSpPr>
            <p:spPr>
              <a:xfrm>
                <a:off x="-3510205" y="3662941"/>
                <a:ext cx="169919" cy="67988"/>
              </a:xfrm>
              <a:custGeom>
                <a:avLst/>
                <a:gdLst>
                  <a:gd name="connsiteX0" fmla="*/ 67988 w 169919"/>
                  <a:gd name="connsiteY0" fmla="*/ 67988 h 67988"/>
                  <a:gd name="connsiteX1" fmla="*/ 102033 w 169919"/>
                  <a:gd name="connsiteY1" fmla="*/ 67988 h 67988"/>
                  <a:gd name="connsiteX2" fmla="*/ 135976 w 169919"/>
                  <a:gd name="connsiteY2" fmla="*/ 67988 h 67988"/>
                  <a:gd name="connsiteX3" fmla="*/ 169920 w 169919"/>
                  <a:gd name="connsiteY3" fmla="*/ 67988 h 67988"/>
                  <a:gd name="connsiteX4" fmla="*/ 169920 w 169919"/>
                  <a:gd name="connsiteY4" fmla="*/ 34045 h 67988"/>
                  <a:gd name="connsiteX5" fmla="*/ 169920 w 169919"/>
                  <a:gd name="connsiteY5" fmla="*/ 0 h 67988"/>
                  <a:gd name="connsiteX6" fmla="*/ 135976 w 169919"/>
                  <a:gd name="connsiteY6" fmla="*/ 0 h 67988"/>
                  <a:gd name="connsiteX7" fmla="*/ 102033 w 169919"/>
                  <a:gd name="connsiteY7" fmla="*/ 0 h 67988"/>
                  <a:gd name="connsiteX8" fmla="*/ 67988 w 169919"/>
                  <a:gd name="connsiteY8" fmla="*/ 0 h 67988"/>
                  <a:gd name="connsiteX9" fmla="*/ 34045 w 169919"/>
                  <a:gd name="connsiteY9" fmla="*/ 0 h 67988"/>
                  <a:gd name="connsiteX10" fmla="*/ 0 w 169919"/>
                  <a:gd name="connsiteY10" fmla="*/ 0 h 67988"/>
                  <a:gd name="connsiteX11" fmla="*/ 0 w 169919"/>
                  <a:gd name="connsiteY11" fmla="*/ 34045 h 67988"/>
                  <a:gd name="connsiteX12" fmla="*/ 0 w 169919"/>
                  <a:gd name="connsiteY12" fmla="*/ 67988 h 67988"/>
                  <a:gd name="connsiteX13" fmla="*/ 34045 w 169919"/>
                  <a:gd name="connsiteY13" fmla="*/ 67988 h 67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9919" h="67988">
                    <a:moveTo>
                      <a:pt x="67988" y="67988"/>
                    </a:moveTo>
                    <a:lnTo>
                      <a:pt x="102033" y="67988"/>
                    </a:lnTo>
                    <a:lnTo>
                      <a:pt x="135976" y="67988"/>
                    </a:lnTo>
                    <a:lnTo>
                      <a:pt x="169920" y="67988"/>
                    </a:lnTo>
                    <a:lnTo>
                      <a:pt x="169920" y="34045"/>
                    </a:lnTo>
                    <a:lnTo>
                      <a:pt x="169920" y="0"/>
                    </a:lnTo>
                    <a:lnTo>
                      <a:pt x="135976" y="0"/>
                    </a:lnTo>
                    <a:lnTo>
                      <a:pt x="102033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0" y="0"/>
                    </a:lnTo>
                    <a:lnTo>
                      <a:pt x="0" y="34045"/>
                    </a:lnTo>
                    <a:lnTo>
                      <a:pt x="0" y="67988"/>
                    </a:lnTo>
                    <a:lnTo>
                      <a:pt x="34045" y="67988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47" name="Graphic 46">
            <a:extLst>
              <a:ext uri="{FF2B5EF4-FFF2-40B4-BE49-F238E27FC236}">
                <a16:creationId xmlns:a16="http://schemas.microsoft.com/office/drawing/2014/main" id="{4A6A0E24-C642-5C27-E6BE-6AB6BDCCE5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712" y="3939257"/>
            <a:ext cx="759469" cy="470689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744CB04B-0B9E-F3B5-2727-63EB4FCB8941}"/>
              </a:ext>
            </a:extLst>
          </p:cNvPr>
          <p:cNvSpPr/>
          <p:nvPr/>
        </p:nvSpPr>
        <p:spPr>
          <a:xfrm>
            <a:off x="8169319" y="0"/>
            <a:ext cx="4022682" cy="6858000"/>
          </a:xfrm>
          <a:prstGeom prst="rect">
            <a:avLst/>
          </a:prstGeom>
          <a:solidFill>
            <a:srgbClr val="033EC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56" name="Picture 55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CC9055A4-4272-1062-D65C-98DF10FCAC5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2795" y="406242"/>
            <a:ext cx="1767478" cy="1767478"/>
          </a:xfrm>
          <a:prstGeom prst="rect">
            <a:avLst/>
          </a:prstGeom>
        </p:spPr>
      </p:pic>
      <p:pic>
        <p:nvPicPr>
          <p:cNvPr id="57" name="Picture 56" descr="A logo with orange and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C50BFA4D-E41C-7C05-7AE4-221EDD4FE2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12784" y="5440610"/>
            <a:ext cx="1567499" cy="1011148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1FEBA406-336B-63FB-C353-14F9C7EA9518}"/>
              </a:ext>
            </a:extLst>
          </p:cNvPr>
          <p:cNvGrpSpPr/>
          <p:nvPr/>
        </p:nvGrpSpPr>
        <p:grpSpPr>
          <a:xfrm>
            <a:off x="5253217" y="1927169"/>
            <a:ext cx="3905687" cy="3573947"/>
            <a:chOff x="4773977" y="1927169"/>
            <a:chExt cx="3905687" cy="3573947"/>
          </a:xfrm>
        </p:grpSpPr>
        <p:pic>
          <p:nvPicPr>
            <p:cNvPr id="60" name="Picture 59" descr="A computer screen with a blue screen&#10;&#10;Description automatically generated">
              <a:extLst>
                <a:ext uri="{FF2B5EF4-FFF2-40B4-BE49-F238E27FC236}">
                  <a16:creationId xmlns:a16="http://schemas.microsoft.com/office/drawing/2014/main" id="{F11525D0-447C-2CD4-F8E9-F45E795DBA5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773977" y="1927169"/>
              <a:ext cx="3905687" cy="3573947"/>
            </a:xfrm>
            <a:prstGeom prst="rect">
              <a:avLst/>
            </a:prstGeom>
          </p:spPr>
        </p:pic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A7051C6D-78B1-59B7-B9BC-3EBEC011A325}"/>
                </a:ext>
              </a:extLst>
            </p:cNvPr>
            <p:cNvSpPr/>
            <p:nvPr/>
          </p:nvSpPr>
          <p:spPr>
            <a:xfrm>
              <a:off x="5620241" y="2482055"/>
              <a:ext cx="2080350" cy="817158"/>
            </a:xfrm>
            <a:prstGeom prst="rect">
              <a:avLst/>
            </a:prstGeom>
            <a:solidFill>
              <a:srgbClr val="0141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 </a:t>
              </a:r>
            </a:p>
          </p:txBody>
        </p:sp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EF421D3E-7995-26AF-CF10-33BB35995F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48482" y="2655817"/>
              <a:ext cx="1218766" cy="491726"/>
            </a:xfrm>
            <a:prstGeom prst="rect">
              <a:avLst/>
            </a:prstGeom>
          </p:spPr>
        </p:pic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56696D23-0EF0-7C20-D99D-C68772852727}"/>
                </a:ext>
              </a:extLst>
            </p:cNvPr>
            <p:cNvSpPr/>
            <p:nvPr/>
          </p:nvSpPr>
          <p:spPr>
            <a:xfrm>
              <a:off x="5609728" y="3296832"/>
              <a:ext cx="2080350" cy="8171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 </a:t>
              </a:r>
            </a:p>
          </p:txBody>
        </p:sp>
        <p:pic>
          <p:nvPicPr>
            <p:cNvPr id="1024" name="Picture 1023">
              <a:extLst>
                <a:ext uri="{FF2B5EF4-FFF2-40B4-BE49-F238E27FC236}">
                  <a16:creationId xmlns:a16="http://schemas.microsoft.com/office/drawing/2014/main" id="{F88F488C-16AD-9784-A4AE-1BF536324C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49679" y="3361158"/>
              <a:ext cx="1217568" cy="686891"/>
            </a:xfrm>
            <a:prstGeom prst="rect">
              <a:avLst/>
            </a:prstGeom>
          </p:spPr>
        </p:pic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77E935B5-D698-9B52-40EE-90605D13665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775176" y="3147543"/>
            <a:ext cx="1453566" cy="1516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283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7B019D-7122-4376-8DA1-EB6B443021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meterize everything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CDB4D39-914F-4FB6-951D-F673BF8ADF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828" y="1706816"/>
            <a:ext cx="8222693" cy="146316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05F1F79-48B3-498F-AB79-94FD0E6A62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828" y="3688018"/>
            <a:ext cx="4564776" cy="2979678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706D64C-C664-4B80-A969-6EF0920F15C7}"/>
              </a:ext>
            </a:extLst>
          </p:cNvPr>
          <p:cNvCxnSpPr>
            <a:cxnSpLocks/>
          </p:cNvCxnSpPr>
          <p:nvPr/>
        </p:nvCxnSpPr>
        <p:spPr>
          <a:xfrm flipV="1">
            <a:off x="5603631" y="2977442"/>
            <a:ext cx="273294" cy="1078743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5119B61-2193-4FC9-8454-69154CBA0224}"/>
              </a:ext>
            </a:extLst>
          </p:cNvPr>
          <p:cNvCxnSpPr>
            <a:cxnSpLocks/>
          </p:cNvCxnSpPr>
          <p:nvPr/>
        </p:nvCxnSpPr>
        <p:spPr>
          <a:xfrm flipH="1" flipV="1">
            <a:off x="3681046" y="2860431"/>
            <a:ext cx="1922585" cy="1195754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155249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743984-E13E-4375-80E3-654D786E6E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tch metadata &amp; loop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21442AF-7937-4554-B923-4A34F781AF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383" y="2977442"/>
            <a:ext cx="4541914" cy="168416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F26214D-0ED8-4E3D-B0C3-F66A137866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0883" y="1733342"/>
            <a:ext cx="6393734" cy="4801016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D6FD5C82-2289-472F-907B-E77E2C6C7C3E}"/>
              </a:ext>
            </a:extLst>
          </p:cNvPr>
          <p:cNvCxnSpPr>
            <a:cxnSpLocks/>
          </p:cNvCxnSpPr>
          <p:nvPr/>
        </p:nvCxnSpPr>
        <p:spPr>
          <a:xfrm flipV="1">
            <a:off x="3876675" y="2977442"/>
            <a:ext cx="2000250" cy="118022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78A532E-3599-42FF-9D21-0B823600FC1F}"/>
              </a:ext>
            </a:extLst>
          </p:cNvPr>
          <p:cNvSpPr txBox="1"/>
          <p:nvPr/>
        </p:nvSpPr>
        <p:spPr>
          <a:xfrm>
            <a:off x="8794505" y="4661608"/>
            <a:ext cx="2846509" cy="117674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884648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91D3D-B4D2-47EE-9C2D-B55367F9B0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l in parameters at runtim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8ECADBA-4BF2-4F20-9A86-C998FD04E0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677" y="1495276"/>
            <a:ext cx="5799323" cy="342929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819E5FB-CF9C-41AE-BA6B-1B0E0CEEE9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8637" y="4785180"/>
            <a:ext cx="5707875" cy="2072820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B2E39FB2-EDD9-4181-B7DC-1EF439F469E8}"/>
              </a:ext>
            </a:extLst>
          </p:cNvPr>
          <p:cNvCxnSpPr>
            <a:cxnSpLocks/>
          </p:cNvCxnSpPr>
          <p:nvPr/>
        </p:nvCxnSpPr>
        <p:spPr>
          <a:xfrm flipV="1">
            <a:off x="2838450" y="4785180"/>
            <a:ext cx="0" cy="82504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97A74DA-4F10-4C36-8A95-DED29E7C06E3}"/>
              </a:ext>
            </a:extLst>
          </p:cNvPr>
          <p:cNvSpPr txBox="1"/>
          <p:nvPr/>
        </p:nvSpPr>
        <p:spPr>
          <a:xfrm>
            <a:off x="1049530" y="5686425"/>
            <a:ext cx="357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use dynamic content</a:t>
            </a:r>
            <a:endParaRPr lang="nl-BE" sz="2400" dirty="0">
              <a:solidFill>
                <a:srgbClr val="FF0000"/>
              </a:solidFill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A0860C2-E349-4A66-AA18-3F90993F4C60}"/>
              </a:ext>
            </a:extLst>
          </p:cNvPr>
          <p:cNvCxnSpPr>
            <a:cxnSpLocks/>
          </p:cNvCxnSpPr>
          <p:nvPr/>
        </p:nvCxnSpPr>
        <p:spPr>
          <a:xfrm flipH="1">
            <a:off x="7800975" y="3738265"/>
            <a:ext cx="1181100" cy="230058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80971B56-C51B-4B9E-B9CB-2AA441125B86}"/>
              </a:ext>
            </a:extLst>
          </p:cNvPr>
          <p:cNvSpPr txBox="1"/>
          <p:nvPr/>
        </p:nvSpPr>
        <p:spPr>
          <a:xfrm>
            <a:off x="7383654" y="2425094"/>
            <a:ext cx="397014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no need for mapping in simple use cases</a:t>
            </a:r>
          </a:p>
          <a:p>
            <a:r>
              <a:rPr lang="en-US" sz="2400" dirty="0">
                <a:solidFill>
                  <a:srgbClr val="FF0000"/>
                </a:solidFill>
                <a:sym typeface="Wingdings" panose="05000000000000000000" pitchFamily="2" charset="2"/>
              </a:rPr>
              <a:t> use same column names!</a:t>
            </a:r>
            <a:endParaRPr lang="nl-BE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3045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1442F1-FBFD-4B97-3B23-6D517BB851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t</a:t>
            </a:r>
            <a:endParaRPr lang="nl-B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4CC0F60-1765-D86F-376C-0F03BE4CCD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3159" y="1182387"/>
            <a:ext cx="9586791" cy="538780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3ACB451-40C1-8A36-2F7F-925EE4C3CBFE}"/>
              </a:ext>
            </a:extLst>
          </p:cNvPr>
          <p:cNvSpPr txBox="1"/>
          <p:nvPr/>
        </p:nvSpPr>
        <p:spPr>
          <a:xfrm>
            <a:off x="5370654" y="701463"/>
            <a:ext cx="579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https://youtube.com/watch?v=Fct1dcZMyW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374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4118D94C-15E2-B492-548E-21D591FF2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to remember</a:t>
            </a:r>
            <a:endParaRPr lang="nl-BE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38200" y="1656085"/>
            <a:ext cx="10515600" cy="47196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7200" dirty="0"/>
              <a:t>ALL ACTIVITIES ARE PRO-RATED BY THE </a:t>
            </a:r>
            <a:r>
              <a:rPr lang="en-US" sz="7200" b="1" dirty="0"/>
              <a:t>MINUTE</a:t>
            </a:r>
          </a:p>
          <a:p>
            <a:pPr marL="0" indent="0">
              <a:buNone/>
            </a:pPr>
            <a:r>
              <a:rPr lang="en-US" sz="7200" dirty="0"/>
              <a:t>AND ROUNDED </a:t>
            </a:r>
            <a:r>
              <a:rPr lang="en-US" sz="7200" b="1" dirty="0"/>
              <a:t>UP</a:t>
            </a:r>
            <a:endParaRPr lang="nl-BE" sz="7200" b="1" dirty="0"/>
          </a:p>
        </p:txBody>
      </p:sp>
    </p:spTree>
    <p:extLst>
      <p:ext uri="{BB962C8B-B14F-4D97-AF65-F5344CB8AC3E}">
        <p14:creationId xmlns:p14="http://schemas.microsoft.com/office/powerpoint/2010/main" val="1491774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8557147-512F-08EE-F1A7-0E77A9622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B17515-57BD-2EEA-21F2-5FF4FC5FC8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2361" y="1477654"/>
            <a:ext cx="7232007" cy="4938188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3EEA4157-0914-CF43-360C-BF07D884960B}"/>
              </a:ext>
            </a:extLst>
          </p:cNvPr>
          <p:cNvCxnSpPr>
            <a:cxnSpLocks/>
          </p:cNvCxnSpPr>
          <p:nvPr/>
        </p:nvCxnSpPr>
        <p:spPr>
          <a:xfrm flipH="1">
            <a:off x="6795689" y="4245323"/>
            <a:ext cx="2110300" cy="133350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5AE62BF-777C-B1B1-DEED-286E2FF612F8}"/>
              </a:ext>
            </a:extLst>
          </p:cNvPr>
          <p:cNvSpPr txBox="1"/>
          <p:nvPr/>
        </p:nvSpPr>
        <p:spPr>
          <a:xfrm>
            <a:off x="8812519" y="3414326"/>
            <a:ext cx="3577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 and 23 seconds runtim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2702DF-EE9F-1988-3458-B0195071820C}"/>
              </a:ext>
            </a:extLst>
          </p:cNvPr>
          <p:cNvSpPr txBox="1"/>
          <p:nvPr/>
        </p:nvSpPr>
        <p:spPr>
          <a:xfrm>
            <a:off x="6134215" y="5239098"/>
            <a:ext cx="661474" cy="117674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13733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9EA46B-5D6C-4A93-AA53-C2C22BA17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30768E-D85A-923E-FC87-BBD292A60F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047" y="1572818"/>
            <a:ext cx="6506316" cy="2985251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0967089D-10DF-6CE4-ED61-50CA75F2F7C2}"/>
              </a:ext>
            </a:extLst>
          </p:cNvPr>
          <p:cNvCxnSpPr>
            <a:cxnSpLocks/>
          </p:cNvCxnSpPr>
          <p:nvPr/>
        </p:nvCxnSpPr>
        <p:spPr>
          <a:xfrm flipV="1">
            <a:off x="2922252" y="4198919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63FFC84B-0E9C-02F2-8FA5-6AD07DFF5C7F}"/>
              </a:ext>
            </a:extLst>
          </p:cNvPr>
          <p:cNvSpPr txBox="1"/>
          <p:nvPr/>
        </p:nvSpPr>
        <p:spPr>
          <a:xfrm>
            <a:off x="1466706" y="4842154"/>
            <a:ext cx="357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 minut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BC08D7-2592-17A3-2988-E6250F07C5E3}"/>
              </a:ext>
            </a:extLst>
          </p:cNvPr>
          <p:cNvSpPr txBox="1"/>
          <p:nvPr/>
        </p:nvSpPr>
        <p:spPr>
          <a:xfrm>
            <a:off x="4265278" y="399889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171392-09FE-8530-220A-A40FD4597DA3}"/>
              </a:ext>
            </a:extLst>
          </p:cNvPr>
          <p:cNvSpPr txBox="1"/>
          <p:nvPr/>
        </p:nvSpPr>
        <p:spPr>
          <a:xfrm>
            <a:off x="4265277" y="4256878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84A7BDC-2C10-A21C-6A1B-492A794A9CA6}"/>
              </a:ext>
            </a:extLst>
          </p:cNvPr>
          <p:cNvCxnSpPr>
            <a:cxnSpLocks/>
          </p:cNvCxnSpPr>
          <p:nvPr/>
        </p:nvCxnSpPr>
        <p:spPr>
          <a:xfrm flipV="1">
            <a:off x="2922252" y="4529494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31150CB8-E4C7-DBDE-F2FA-83913AF371ED}"/>
              </a:ext>
            </a:extLst>
          </p:cNvPr>
          <p:cNvSpPr txBox="1"/>
          <p:nvPr/>
        </p:nvSpPr>
        <p:spPr>
          <a:xfrm>
            <a:off x="1466706" y="5201304"/>
            <a:ext cx="19222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3D5EF3A-2647-8295-0394-EE0DC4DE5781}"/>
              </a:ext>
            </a:extLst>
          </p:cNvPr>
          <p:cNvSpPr txBox="1"/>
          <p:nvPr/>
        </p:nvSpPr>
        <p:spPr>
          <a:xfrm>
            <a:off x="7275176" y="818752"/>
            <a:ext cx="469582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rchestration (Azure-IR): $0.001/run</a:t>
            </a:r>
          </a:p>
          <a:p>
            <a:endParaRPr lang="en-US" dirty="0"/>
          </a:p>
          <a:p>
            <a:r>
              <a:rPr lang="en-US" dirty="0"/>
              <a:t>Pipeline (Azure-IR): $0.00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83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External (Azure-IR): $0.0002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0832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Data Movement (Azure-IR): $0,25/hour</a:t>
            </a:r>
          </a:p>
          <a:p>
            <a:r>
              <a:rPr lang="en-US" dirty="0">
                <a:sym typeface="Wingdings" panose="05000000000000000000" pitchFamily="2" charset="2"/>
              </a:rPr>
              <a:t> 2 * 1.6667 * $0.25 = $0,83335/run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0,834441825 / run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day:        $25.03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hour:     $600.80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5 min: </a:t>
            </a:r>
            <a:r>
              <a:rPr lang="en-US" sz="1100" dirty="0">
                <a:solidFill>
                  <a:srgbClr val="00188F"/>
                </a:solidFill>
                <a:sym typeface="Wingdings" panose="05000000000000000000" pitchFamily="2" charset="2"/>
              </a:rPr>
              <a:t> </a:t>
            </a:r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7209.58</a:t>
            </a:r>
          </a:p>
          <a:p>
            <a:endParaRPr lang="nl-B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F0BA46-46FA-36F3-638D-757C054E5973}"/>
              </a:ext>
            </a:extLst>
          </p:cNvPr>
          <p:cNvSpPr txBox="1"/>
          <p:nvPr/>
        </p:nvSpPr>
        <p:spPr>
          <a:xfrm>
            <a:off x="4265277" y="373359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C46554C-59B5-0201-2FBE-ED6EA27F4017}"/>
              </a:ext>
            </a:extLst>
          </p:cNvPr>
          <p:cNvCxnSpPr>
            <a:cxnSpLocks/>
          </p:cNvCxnSpPr>
          <p:nvPr/>
        </p:nvCxnSpPr>
        <p:spPr>
          <a:xfrm flipH="1" flipV="1">
            <a:off x="4741527" y="3855239"/>
            <a:ext cx="866775" cy="1056842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3D5A581-C6C7-8BA5-07B5-F29BDE85F2D9}"/>
              </a:ext>
            </a:extLst>
          </p:cNvPr>
          <p:cNvSpPr txBox="1"/>
          <p:nvPr/>
        </p:nvSpPr>
        <p:spPr>
          <a:xfrm>
            <a:off x="4896211" y="4918806"/>
            <a:ext cx="21789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00 minutes!</a:t>
            </a:r>
            <a:endParaRPr lang="nl-BE" sz="2400" dirty="0">
              <a:solidFill>
                <a:srgbClr val="FF000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C8BA570-9D6C-D37F-A001-4EAFBA8A15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6223" y="3023807"/>
            <a:ext cx="4427604" cy="8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64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8" grpId="0" animBg="1"/>
      <p:bldP spid="10" grpId="0"/>
      <p:bldP spid="12" grpId="0" animBg="1"/>
      <p:bldP spid="14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4D4E6E3-DCC9-C9F2-545F-4B2392BB7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50% cost saving with one single config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C0BCE96-1F54-506D-22C5-5D31E531CC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714" y="1767528"/>
            <a:ext cx="10896571" cy="409891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585AD1C-5DFD-B97F-8917-59665A4BEF31}"/>
              </a:ext>
            </a:extLst>
          </p:cNvPr>
          <p:cNvSpPr txBox="1"/>
          <p:nvPr/>
        </p:nvSpPr>
        <p:spPr>
          <a:xfrm>
            <a:off x="3293479" y="3718559"/>
            <a:ext cx="437274" cy="341377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52153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2337E40-4DCE-8F2C-0218-C39A7B0AD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ove compute to somewhere else</a:t>
            </a:r>
            <a:endParaRPr lang="nl-BE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193A07E-C9F1-F989-DEA2-18BA91227E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eferably to something that doesn’t have pricing per minute</a:t>
            </a:r>
          </a:p>
          <a:p>
            <a:r>
              <a:rPr lang="en-US" dirty="0"/>
              <a:t>such as an Azure SQL DB</a:t>
            </a:r>
          </a:p>
          <a:p>
            <a:pPr lvl="1"/>
            <a:r>
              <a:rPr lang="nl-BE" b="1" dirty="0" err="1"/>
              <a:t>scale</a:t>
            </a:r>
            <a:r>
              <a:rPr lang="nl-BE" b="1" dirty="0"/>
              <a:t> up </a:t>
            </a:r>
            <a:r>
              <a:rPr lang="nl-BE" dirty="0" err="1"/>
              <a:t>before</a:t>
            </a:r>
            <a:r>
              <a:rPr lang="nl-BE" dirty="0"/>
              <a:t> ELT</a:t>
            </a:r>
          </a:p>
          <a:p>
            <a:pPr lvl="1"/>
            <a:r>
              <a:rPr lang="nl-BE" b="1" dirty="0" err="1"/>
              <a:t>scale</a:t>
            </a:r>
            <a:r>
              <a:rPr lang="nl-BE" b="1" dirty="0"/>
              <a:t> down </a:t>
            </a:r>
            <a:r>
              <a:rPr lang="nl-BE" dirty="0" err="1"/>
              <a:t>once</a:t>
            </a:r>
            <a:r>
              <a:rPr lang="nl-BE" dirty="0"/>
              <a:t> ELT is </a:t>
            </a:r>
            <a:r>
              <a:rPr lang="nl-BE" dirty="0" err="1"/>
              <a:t>done</a:t>
            </a:r>
            <a:endParaRPr lang="nl-BE" dirty="0"/>
          </a:p>
          <a:p>
            <a:pPr lvl="1"/>
            <a:endParaRPr lang="nl-BE" dirty="0"/>
          </a:p>
          <a:p>
            <a:endParaRPr lang="nl-BE" dirty="0"/>
          </a:p>
          <a:p>
            <a:r>
              <a:rPr lang="nl-BE" dirty="0"/>
              <a:t>or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compute</a:t>
            </a:r>
            <a:r>
              <a:rPr lang="nl-BE" dirty="0"/>
              <a:t> </a:t>
            </a:r>
            <a:r>
              <a:rPr lang="nl-BE" dirty="0" err="1"/>
              <a:t>that</a:t>
            </a:r>
            <a:r>
              <a:rPr lang="nl-BE" dirty="0"/>
              <a:t> is </a:t>
            </a:r>
            <a:r>
              <a:rPr lang="nl-BE" dirty="0" err="1"/>
              <a:t>just</a:t>
            </a:r>
            <a:r>
              <a:rPr lang="nl-BE" dirty="0"/>
              <a:t> </a:t>
            </a:r>
            <a:r>
              <a:rPr lang="nl-BE" dirty="0" err="1"/>
              <a:t>cheaper</a:t>
            </a:r>
            <a:endParaRPr lang="nl-BE" dirty="0"/>
          </a:p>
          <a:p>
            <a:r>
              <a:rPr lang="nl-BE" b="1" dirty="0"/>
              <a:t>Azure </a:t>
            </a:r>
            <a:r>
              <a:rPr lang="nl-BE" b="1" dirty="0" err="1"/>
              <a:t>Functions</a:t>
            </a:r>
            <a:r>
              <a:rPr lang="nl-BE" dirty="0"/>
              <a:t> or </a:t>
            </a:r>
            <a:r>
              <a:rPr lang="nl-BE" b="1" dirty="0"/>
              <a:t>Azure Logic Apps </a:t>
            </a:r>
            <a:r>
              <a:rPr lang="nl-BE" dirty="0"/>
              <a:t>are </a:t>
            </a:r>
            <a:r>
              <a:rPr lang="nl-BE" dirty="0" err="1"/>
              <a:t>good</a:t>
            </a:r>
            <a:r>
              <a:rPr lang="nl-BE" dirty="0"/>
              <a:t> </a:t>
            </a:r>
            <a:r>
              <a:rPr lang="nl-BE" dirty="0" err="1"/>
              <a:t>alternatives</a:t>
            </a:r>
            <a:endParaRPr lang="nl-BE" dirty="0"/>
          </a:p>
          <a:p>
            <a:endParaRPr lang="nl-BE" dirty="0"/>
          </a:p>
          <a:p>
            <a:r>
              <a:rPr lang="nl-BE" dirty="0" err="1"/>
              <a:t>for</a:t>
            </a:r>
            <a:r>
              <a:rPr lang="nl-BE" dirty="0"/>
              <a:t> </a:t>
            </a:r>
            <a:r>
              <a:rPr lang="nl-BE" dirty="0" err="1"/>
              <a:t>bigger</a:t>
            </a:r>
            <a:r>
              <a:rPr lang="nl-BE" dirty="0"/>
              <a:t> </a:t>
            </a:r>
            <a:r>
              <a:rPr lang="nl-BE" dirty="0" err="1"/>
              <a:t>workloads</a:t>
            </a:r>
            <a:r>
              <a:rPr lang="nl-BE" dirty="0"/>
              <a:t>, </a:t>
            </a:r>
            <a:r>
              <a:rPr lang="nl-BE" dirty="0" err="1"/>
              <a:t>maybe</a:t>
            </a:r>
            <a:r>
              <a:rPr lang="nl-BE" dirty="0"/>
              <a:t> </a:t>
            </a:r>
            <a:r>
              <a:rPr lang="nl-BE" dirty="0" err="1"/>
              <a:t>consider</a:t>
            </a:r>
            <a:r>
              <a:rPr lang="nl-BE" dirty="0"/>
              <a:t> </a:t>
            </a:r>
            <a:r>
              <a:rPr lang="nl-BE" dirty="0" err="1"/>
              <a:t>using</a:t>
            </a:r>
            <a:r>
              <a:rPr lang="nl-BE" dirty="0"/>
              <a:t> a </a:t>
            </a:r>
            <a:r>
              <a:rPr lang="nl-BE" b="1" dirty="0" err="1"/>
              <a:t>self-hosted</a:t>
            </a:r>
            <a:r>
              <a:rPr lang="nl-BE" b="1" dirty="0"/>
              <a:t> IR</a:t>
            </a:r>
            <a:r>
              <a:rPr lang="nl-BE" dirty="0"/>
              <a:t> in a VM</a:t>
            </a:r>
          </a:p>
        </p:txBody>
      </p:sp>
    </p:spTree>
    <p:extLst>
      <p:ext uri="{BB962C8B-B14F-4D97-AF65-F5344CB8AC3E}">
        <p14:creationId xmlns:p14="http://schemas.microsoft.com/office/powerpoint/2010/main" val="3701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5699167-48E6-637A-4C04-A104B455637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59270" y="2451877"/>
            <a:ext cx="7173387" cy="2670025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6779E57-D2B5-B6A9-864B-F6159BECD8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Functions</a:t>
            </a:r>
            <a:endParaRPr lang="nl-B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9913E4-1DA9-4951-AC8B-30E4F15AD934}"/>
              </a:ext>
            </a:extLst>
          </p:cNvPr>
          <p:cNvSpPr txBox="1"/>
          <p:nvPr/>
        </p:nvSpPr>
        <p:spPr>
          <a:xfrm>
            <a:off x="4357495" y="2648568"/>
            <a:ext cx="2010041" cy="2276642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30629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74FAD5-410E-8C80-3E66-914B371D0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47A08A8-3450-CA1D-09BB-4658FCDA5D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9876" y="1289981"/>
            <a:ext cx="8924671" cy="4807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29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8DD0474-C3FE-07C8-DF97-3A73B2A744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Azure Data Factory and the Exact Online REST API</a:t>
            </a:r>
            <a:endParaRPr lang="en-US" dirty="0"/>
          </a:p>
          <a:p>
            <a:r>
              <a:rPr lang="en-US" dirty="0">
                <a:hlinkClick r:id="rId3"/>
              </a:rPr>
              <a:t>Reading AFAS REST API Data with Azure Logic Apps</a:t>
            </a:r>
            <a:endParaRPr lang="en-US" dirty="0"/>
          </a:p>
          <a:p>
            <a:r>
              <a:rPr lang="en-US" dirty="0">
                <a:hlinkClick r:id="rId4"/>
              </a:rPr>
              <a:t>Build Once – Add Metadata (the importance of metadata-driven frameworks)</a:t>
            </a:r>
            <a:endParaRPr lang="en-US" dirty="0"/>
          </a:p>
          <a:p>
            <a:r>
              <a:rPr lang="en-US" dirty="0">
                <a:hlinkClick r:id="rId5"/>
              </a:rPr>
              <a:t>Dynamic Datasets in Azure Data Factory</a:t>
            </a:r>
            <a:endParaRPr lang="en-US" dirty="0"/>
          </a:p>
          <a:p>
            <a:r>
              <a:rPr lang="en-US" dirty="0">
                <a:hlinkClick r:id="rId6"/>
              </a:rPr>
              <a:t>Building Flexible and Dynamic Azure Data Factory Pipelines</a:t>
            </a:r>
            <a:endParaRPr lang="en-US" dirty="0"/>
          </a:p>
          <a:p>
            <a:r>
              <a:rPr lang="en-US" dirty="0">
                <a:hlinkClick r:id="rId7"/>
              </a:rPr>
              <a:t>Dynamically Map JSON to SQL in Azure Data Factory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C95011-866E-6B8C-963D-2C1FA0361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348280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demo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1401485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A564521-D1CF-0E55-896D-6CFD4A0233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ransform</a:t>
            </a:r>
            <a:endParaRPr lang="nl-BE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C253A81-FD6A-4242-9334-1E62453B9CF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327942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936139F-F221-F0EE-F870-622D560F5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t’s all SQL</a:t>
            </a:r>
            <a:endParaRPr lang="nl-BE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C33E3EF-7803-B523-AD43-65524978B5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46497" y="3031672"/>
            <a:ext cx="1263994" cy="1263994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E7F931B0-9292-DDE1-5E5E-1FA718741B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86658" y="3031672"/>
            <a:ext cx="1263994" cy="126399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058721D-0094-1FB0-C51B-49FBBDE7B1B9}"/>
              </a:ext>
            </a:extLst>
          </p:cNvPr>
          <p:cNvSpPr txBox="1"/>
          <p:nvPr/>
        </p:nvSpPr>
        <p:spPr>
          <a:xfrm>
            <a:off x="2371909" y="4300856"/>
            <a:ext cx="1013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staging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0EA216B-286D-530E-CF8E-62C8E6DD6654}"/>
              </a:ext>
            </a:extLst>
          </p:cNvPr>
          <p:cNvSpPr txBox="1"/>
          <p:nvPr/>
        </p:nvSpPr>
        <p:spPr>
          <a:xfrm>
            <a:off x="8038064" y="4295666"/>
            <a:ext cx="7611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DWH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DBB1DD-1390-7CFE-1B23-60C73FF39E82}"/>
              </a:ext>
            </a:extLst>
          </p:cNvPr>
          <p:cNvSpPr/>
          <p:nvPr/>
        </p:nvSpPr>
        <p:spPr>
          <a:xfrm>
            <a:off x="1754155" y="2388637"/>
            <a:ext cx="2248678" cy="2761861"/>
          </a:xfrm>
          <a:prstGeom prst="rect">
            <a:avLst/>
          </a:prstGeom>
          <a:noFill/>
          <a:ln w="571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82FE77-2938-0686-76C5-6B4E709123E7}"/>
              </a:ext>
            </a:extLst>
          </p:cNvPr>
          <p:cNvSpPr txBox="1"/>
          <p:nvPr/>
        </p:nvSpPr>
        <p:spPr>
          <a:xfrm>
            <a:off x="2466843" y="5208582"/>
            <a:ext cx="8233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views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72FD43F5-F9AE-AEE5-3AF7-B5674C590FB6}"/>
              </a:ext>
            </a:extLst>
          </p:cNvPr>
          <p:cNvSpPr/>
          <p:nvPr/>
        </p:nvSpPr>
        <p:spPr>
          <a:xfrm>
            <a:off x="5029200" y="3601616"/>
            <a:ext cx="1660848" cy="35456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E9FFF1A-100C-1A03-F5EF-AFF6732A61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13605" y="2764346"/>
            <a:ext cx="492038" cy="49203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8FCE946-CF74-799B-F488-7DC53982AB15}"/>
              </a:ext>
            </a:extLst>
          </p:cNvPr>
          <p:cNvSpPr txBox="1"/>
          <p:nvPr/>
        </p:nvSpPr>
        <p:spPr>
          <a:xfrm>
            <a:off x="5266091" y="3304812"/>
            <a:ext cx="11870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metadata</a:t>
            </a:r>
            <a:endParaRPr lang="nl-BE" dirty="0">
              <a:solidFill>
                <a:schemeClr val="accent1"/>
              </a:solidFill>
            </a:endParaRPr>
          </a:p>
        </p:txBody>
      </p:sp>
      <p:pic>
        <p:nvPicPr>
          <p:cNvPr id="15" name="Picture 14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30D24507-8C08-55C0-BD98-D10BF50625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9797" y="3905164"/>
            <a:ext cx="1263995" cy="1263995"/>
          </a:xfrm>
          <a:prstGeom prst="rect">
            <a:avLst/>
          </a:prstGeom>
        </p:spPr>
      </p:pic>
      <p:pic>
        <p:nvPicPr>
          <p:cNvPr id="16" name="Picture 15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BA3EEC03-0410-CF58-00D8-5B3061C3F8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8304" y="4512343"/>
            <a:ext cx="1263995" cy="126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574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  <p:bldP spid="11" grpId="0"/>
      <p:bldP spid="12" grpId="0" animBg="1"/>
      <p:bldP spid="14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Free Stormtrooper Star Wars photo and picture">
            <a:extLst>
              <a:ext uri="{FF2B5EF4-FFF2-40B4-BE49-F238E27FC236}">
                <a16:creationId xmlns:a16="http://schemas.microsoft.com/office/drawing/2014/main" id="{4195C54A-8297-7A95-450A-D1BA772E4733}"/>
              </a:ext>
            </a:extLst>
          </p:cNvPr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96254"/>
            <a:ext cx="12191999" cy="6954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AF0C73D-9F7A-8696-618B-FAFEF22DC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it’s all about patterns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1004268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89E4F8-1060-6919-2200-15359CD06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1 dimension</a:t>
            </a:r>
            <a:endParaRPr lang="nl-BE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4DF17B5-F2E9-E12F-AB80-746B49FFA9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0" y="2698607"/>
            <a:ext cx="1263994" cy="1263994"/>
          </a:xfrm>
          <a:prstGeom prst="rect">
            <a:avLst/>
          </a:prstGeom>
        </p:spPr>
      </p:pic>
      <p:sp>
        <p:nvSpPr>
          <p:cNvPr id="5" name="Arrow: Right 4">
            <a:extLst>
              <a:ext uri="{FF2B5EF4-FFF2-40B4-BE49-F238E27FC236}">
                <a16:creationId xmlns:a16="http://schemas.microsoft.com/office/drawing/2014/main" id="{15B7A1ED-62DF-1D27-C3FC-2F6B5D93F8DE}"/>
              </a:ext>
            </a:extLst>
          </p:cNvPr>
          <p:cNvSpPr/>
          <p:nvPr/>
        </p:nvSpPr>
        <p:spPr>
          <a:xfrm>
            <a:off x="2384899" y="3217923"/>
            <a:ext cx="1547290" cy="29183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233EB96-9527-3147-DC64-F66364C24211}"/>
              </a:ext>
            </a:extLst>
          </p:cNvPr>
          <p:cNvSpPr txBox="1"/>
          <p:nvPr/>
        </p:nvSpPr>
        <p:spPr>
          <a:xfrm>
            <a:off x="963611" y="3944965"/>
            <a:ext cx="1013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staging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8E1F17-8D6F-7B24-CCED-C607F2795FBA}"/>
              </a:ext>
            </a:extLst>
          </p:cNvPr>
          <p:cNvSpPr txBox="1"/>
          <p:nvPr/>
        </p:nvSpPr>
        <p:spPr>
          <a:xfrm>
            <a:off x="2102193" y="3509753"/>
            <a:ext cx="23840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basic data quality checks + business logic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id="{9BE160AB-5D5F-BB92-C969-921E2A7CA19C}"/>
              </a:ext>
            </a:extLst>
          </p:cNvPr>
          <p:cNvSpPr/>
          <p:nvPr/>
        </p:nvSpPr>
        <p:spPr>
          <a:xfrm>
            <a:off x="4210560" y="2853846"/>
            <a:ext cx="1683342" cy="1019984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EW?</a:t>
            </a:r>
            <a:endParaRPr lang="nl-B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CEFC580-ADE6-22B3-7447-6210726613E4}"/>
              </a:ext>
            </a:extLst>
          </p:cNvPr>
          <p:cNvGrpSpPr/>
          <p:nvPr/>
        </p:nvGrpSpPr>
        <p:grpSpPr>
          <a:xfrm>
            <a:off x="4934137" y="2046142"/>
            <a:ext cx="1683342" cy="807704"/>
            <a:chOff x="5535038" y="2474159"/>
            <a:chExt cx="1683342" cy="807704"/>
          </a:xfrm>
        </p:grpSpPr>
        <p:sp>
          <p:nvSpPr>
            <p:cNvPr id="9" name="Arrow: Bent 8">
              <a:extLst>
                <a:ext uri="{FF2B5EF4-FFF2-40B4-BE49-F238E27FC236}">
                  <a16:creationId xmlns:a16="http://schemas.microsoft.com/office/drawing/2014/main" id="{4F9BAC7B-3BD7-253F-9CB3-4183CED8BA3B}"/>
                </a:ext>
              </a:extLst>
            </p:cNvPr>
            <p:cNvSpPr/>
            <p:nvPr/>
          </p:nvSpPr>
          <p:spPr>
            <a:xfrm>
              <a:off x="5535038" y="2474159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F72FE17-D7F2-656F-13C0-62F893C325D6}"/>
                </a:ext>
              </a:extLst>
            </p:cNvPr>
            <p:cNvSpPr txBox="1"/>
            <p:nvPr/>
          </p:nvSpPr>
          <p:spPr>
            <a:xfrm>
              <a:off x="6182463" y="247415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yes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Flowchart: Terminator 11">
            <a:extLst>
              <a:ext uri="{FF2B5EF4-FFF2-40B4-BE49-F238E27FC236}">
                <a16:creationId xmlns:a16="http://schemas.microsoft.com/office/drawing/2014/main" id="{636417C1-E047-0CCF-554F-E7B86C009114}"/>
              </a:ext>
            </a:extLst>
          </p:cNvPr>
          <p:cNvSpPr/>
          <p:nvPr/>
        </p:nvSpPr>
        <p:spPr>
          <a:xfrm>
            <a:off x="6617479" y="1944413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sert</a:t>
            </a:r>
            <a:endParaRPr lang="nl-BE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3849B6-B096-6ADA-869A-81210AD64B44}"/>
              </a:ext>
            </a:extLst>
          </p:cNvPr>
          <p:cNvGrpSpPr/>
          <p:nvPr/>
        </p:nvGrpSpPr>
        <p:grpSpPr>
          <a:xfrm>
            <a:off x="4934137" y="3873830"/>
            <a:ext cx="1683342" cy="807704"/>
            <a:chOff x="5535038" y="4301847"/>
            <a:chExt cx="1683342" cy="807704"/>
          </a:xfrm>
        </p:grpSpPr>
        <p:sp>
          <p:nvSpPr>
            <p:cNvPr id="13" name="Arrow: Bent 12">
              <a:extLst>
                <a:ext uri="{FF2B5EF4-FFF2-40B4-BE49-F238E27FC236}">
                  <a16:creationId xmlns:a16="http://schemas.microsoft.com/office/drawing/2014/main" id="{209C3ECA-8CEC-196B-0E98-7027E6946402}"/>
                </a:ext>
              </a:extLst>
            </p:cNvPr>
            <p:cNvSpPr/>
            <p:nvPr/>
          </p:nvSpPr>
          <p:spPr>
            <a:xfrm flipV="1">
              <a:off x="5535038" y="4301847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58E3A5D-C91F-B8C5-9E06-1D4F6F77903E}"/>
                </a:ext>
              </a:extLst>
            </p:cNvPr>
            <p:cNvSpPr txBox="1"/>
            <p:nvPr/>
          </p:nvSpPr>
          <p:spPr>
            <a:xfrm>
              <a:off x="6182463" y="470569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no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15" name="Diamond 14">
            <a:extLst>
              <a:ext uri="{FF2B5EF4-FFF2-40B4-BE49-F238E27FC236}">
                <a16:creationId xmlns:a16="http://schemas.microsoft.com/office/drawing/2014/main" id="{7728E823-E129-BA42-DD8A-69188D9C1C77}"/>
              </a:ext>
            </a:extLst>
          </p:cNvPr>
          <p:cNvSpPr/>
          <p:nvPr/>
        </p:nvSpPr>
        <p:spPr>
          <a:xfrm>
            <a:off x="6617479" y="3952356"/>
            <a:ext cx="1683342" cy="1019984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&lt;&gt; hash?</a:t>
            </a:r>
            <a:endParaRPr lang="nl-BE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8FCC33-E8F0-88F0-2C81-7D05E328270D}"/>
              </a:ext>
            </a:extLst>
          </p:cNvPr>
          <p:cNvGrpSpPr/>
          <p:nvPr/>
        </p:nvGrpSpPr>
        <p:grpSpPr>
          <a:xfrm>
            <a:off x="7353082" y="3137261"/>
            <a:ext cx="1683342" cy="807704"/>
            <a:chOff x="5535038" y="2474159"/>
            <a:chExt cx="1683342" cy="807704"/>
          </a:xfrm>
        </p:grpSpPr>
        <p:sp>
          <p:nvSpPr>
            <p:cNvPr id="19" name="Arrow: Bent 18">
              <a:extLst>
                <a:ext uri="{FF2B5EF4-FFF2-40B4-BE49-F238E27FC236}">
                  <a16:creationId xmlns:a16="http://schemas.microsoft.com/office/drawing/2014/main" id="{9C183E6B-1016-6230-1D25-DF6A23F814B0}"/>
                </a:ext>
              </a:extLst>
            </p:cNvPr>
            <p:cNvSpPr/>
            <p:nvPr/>
          </p:nvSpPr>
          <p:spPr>
            <a:xfrm>
              <a:off x="5535038" y="2474159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AE0B93F-27AA-CD1A-0EF5-53DF578079BC}"/>
                </a:ext>
              </a:extLst>
            </p:cNvPr>
            <p:cNvSpPr txBox="1"/>
            <p:nvPr/>
          </p:nvSpPr>
          <p:spPr>
            <a:xfrm>
              <a:off x="6182463" y="247415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yes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21" name="Flowchart: Terminator 20">
            <a:extLst>
              <a:ext uri="{FF2B5EF4-FFF2-40B4-BE49-F238E27FC236}">
                <a16:creationId xmlns:a16="http://schemas.microsoft.com/office/drawing/2014/main" id="{5EC26CDF-2709-68B1-7526-9AFC64230AD0}"/>
              </a:ext>
            </a:extLst>
          </p:cNvPr>
          <p:cNvSpPr/>
          <p:nvPr/>
        </p:nvSpPr>
        <p:spPr>
          <a:xfrm>
            <a:off x="9036424" y="3047965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pdate</a:t>
            </a:r>
            <a:endParaRPr lang="nl-BE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8784CA2-18C4-E934-A61E-BAFC718836FB}"/>
              </a:ext>
            </a:extLst>
          </p:cNvPr>
          <p:cNvGrpSpPr/>
          <p:nvPr/>
        </p:nvGrpSpPr>
        <p:grpSpPr>
          <a:xfrm>
            <a:off x="7353082" y="4979731"/>
            <a:ext cx="1683342" cy="807704"/>
            <a:chOff x="5535038" y="4301847"/>
            <a:chExt cx="1683342" cy="807704"/>
          </a:xfrm>
        </p:grpSpPr>
        <p:sp>
          <p:nvSpPr>
            <p:cNvPr id="23" name="Arrow: Bent 22">
              <a:extLst>
                <a:ext uri="{FF2B5EF4-FFF2-40B4-BE49-F238E27FC236}">
                  <a16:creationId xmlns:a16="http://schemas.microsoft.com/office/drawing/2014/main" id="{14A355C3-F981-2C6C-8FB3-D892845F549D}"/>
                </a:ext>
              </a:extLst>
            </p:cNvPr>
            <p:cNvSpPr/>
            <p:nvPr/>
          </p:nvSpPr>
          <p:spPr>
            <a:xfrm flipV="1">
              <a:off x="5535038" y="4301847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637DAA1-0292-70B9-8295-E2674E4E9F63}"/>
                </a:ext>
              </a:extLst>
            </p:cNvPr>
            <p:cNvSpPr txBox="1"/>
            <p:nvPr/>
          </p:nvSpPr>
          <p:spPr>
            <a:xfrm>
              <a:off x="6182463" y="470569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no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25" name="Flowchart: Terminator 24">
            <a:extLst>
              <a:ext uri="{FF2B5EF4-FFF2-40B4-BE49-F238E27FC236}">
                <a16:creationId xmlns:a16="http://schemas.microsoft.com/office/drawing/2014/main" id="{D052208E-AD50-7EF8-E782-19A6D02171B8}"/>
              </a:ext>
            </a:extLst>
          </p:cNvPr>
          <p:cNvSpPr/>
          <p:nvPr/>
        </p:nvSpPr>
        <p:spPr>
          <a:xfrm>
            <a:off x="9036424" y="5294287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gnor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73268831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79D2B-2E18-F878-19F3-02DAC69076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1 dimension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6D3EBD-13B4-2B44-1F0F-7A99FE90B2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566" y="2242448"/>
            <a:ext cx="11936867" cy="270681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819E4FF-0F50-F100-1BDD-4F87079634B1}"/>
              </a:ext>
            </a:extLst>
          </p:cNvPr>
          <p:cNvSpPr txBox="1"/>
          <p:nvPr/>
        </p:nvSpPr>
        <p:spPr>
          <a:xfrm>
            <a:off x="127566" y="2421592"/>
            <a:ext cx="7732383" cy="179999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B4C6B5-FDEA-58AF-764A-BB0B7BE49019}"/>
              </a:ext>
            </a:extLst>
          </p:cNvPr>
          <p:cNvSpPr txBox="1"/>
          <p:nvPr/>
        </p:nvSpPr>
        <p:spPr>
          <a:xfrm>
            <a:off x="202109" y="1780783"/>
            <a:ext cx="24049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dummy record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D984628-93E4-9B36-E5F3-1A5CFF767745}"/>
              </a:ext>
            </a:extLst>
          </p:cNvPr>
          <p:cNvSpPr txBox="1"/>
          <p:nvPr/>
        </p:nvSpPr>
        <p:spPr>
          <a:xfrm>
            <a:off x="116217" y="2601592"/>
            <a:ext cx="721983" cy="2375267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ECFD54-76A4-FDE8-85BB-DF1927359B68}"/>
              </a:ext>
            </a:extLst>
          </p:cNvPr>
          <p:cNvSpPr txBox="1"/>
          <p:nvPr/>
        </p:nvSpPr>
        <p:spPr>
          <a:xfrm>
            <a:off x="0" y="4926026"/>
            <a:ext cx="45136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SK = identity(1,1) = PK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AFBD8D-EAA9-3328-A170-9FD2F48927AB}"/>
              </a:ext>
            </a:extLst>
          </p:cNvPr>
          <p:cNvSpPr txBox="1"/>
          <p:nvPr/>
        </p:nvSpPr>
        <p:spPr>
          <a:xfrm>
            <a:off x="857655" y="2601591"/>
            <a:ext cx="721983" cy="2375267"/>
          </a:xfrm>
          <a:prstGeom prst="rect">
            <a:avLst/>
          </a:prstGeom>
          <a:noFill/>
          <a:ln w="444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712466-18D2-BDDB-FEDD-8194AE0F0C9B}"/>
              </a:ext>
            </a:extLst>
          </p:cNvPr>
          <p:cNvSpPr txBox="1"/>
          <p:nvPr/>
        </p:nvSpPr>
        <p:spPr>
          <a:xfrm>
            <a:off x="629055" y="5387691"/>
            <a:ext cx="45136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188F"/>
                </a:solidFill>
              </a:rPr>
              <a:t>BK = unique index</a:t>
            </a:r>
            <a:endParaRPr lang="nl-BE" sz="2400" dirty="0">
              <a:solidFill>
                <a:srgbClr val="00188F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EDEBDC5-BB08-8743-E0DA-9631F452236A}"/>
              </a:ext>
            </a:extLst>
          </p:cNvPr>
          <p:cNvSpPr txBox="1"/>
          <p:nvPr/>
        </p:nvSpPr>
        <p:spPr>
          <a:xfrm>
            <a:off x="7868055" y="2218129"/>
            <a:ext cx="1752600" cy="2731130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09138E1-CD48-9E18-F9AF-26A75BA09763}"/>
              </a:ext>
            </a:extLst>
          </p:cNvPr>
          <p:cNvSpPr txBox="1"/>
          <p:nvPr/>
        </p:nvSpPr>
        <p:spPr>
          <a:xfrm>
            <a:off x="7811310" y="4973578"/>
            <a:ext cx="2263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audit column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ED5B6BF-CC86-8136-50A1-A774D709ECEB}"/>
              </a:ext>
            </a:extLst>
          </p:cNvPr>
          <p:cNvSpPr txBox="1"/>
          <p:nvPr/>
        </p:nvSpPr>
        <p:spPr>
          <a:xfrm>
            <a:off x="9628761" y="2214848"/>
            <a:ext cx="2510215" cy="2758730"/>
          </a:xfrm>
          <a:prstGeom prst="rect">
            <a:avLst/>
          </a:prstGeom>
          <a:noFill/>
          <a:ln w="444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20E1A1-304C-EE6B-3FF9-B0EAF69C2F0E}"/>
              </a:ext>
            </a:extLst>
          </p:cNvPr>
          <p:cNvSpPr txBox="1"/>
          <p:nvPr/>
        </p:nvSpPr>
        <p:spPr>
          <a:xfrm>
            <a:off x="9620655" y="1710094"/>
            <a:ext cx="2263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188F"/>
                </a:solidFill>
              </a:rPr>
              <a:t>hash</a:t>
            </a:r>
            <a:endParaRPr lang="nl-BE" sz="2400" dirty="0">
              <a:solidFill>
                <a:srgbClr val="0018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9326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 animBg="1"/>
      <p:bldP spid="10" grpId="0"/>
      <p:bldP spid="11" grpId="0" animBg="1"/>
      <p:bldP spid="12" grpId="0"/>
      <p:bldP spid="13" grpId="0" animBg="1"/>
      <p:bldP spid="14" grpId="0"/>
      <p:bldP spid="15" grpId="0" animBg="1"/>
      <p:bldP spid="16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89E4F8-1060-6919-2200-15359CD06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2 dimension</a:t>
            </a:r>
            <a:endParaRPr lang="nl-BE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4DF17B5-F2E9-E12F-AB80-746B49FFA9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29184" y="2212225"/>
            <a:ext cx="1263994" cy="1263994"/>
          </a:xfrm>
          <a:prstGeom prst="rect">
            <a:avLst/>
          </a:prstGeom>
        </p:spPr>
      </p:pic>
      <p:sp>
        <p:nvSpPr>
          <p:cNvPr id="5" name="Arrow: Right 4">
            <a:extLst>
              <a:ext uri="{FF2B5EF4-FFF2-40B4-BE49-F238E27FC236}">
                <a16:creationId xmlns:a16="http://schemas.microsoft.com/office/drawing/2014/main" id="{15B7A1ED-62DF-1D27-C3FC-2F6B5D93F8DE}"/>
              </a:ext>
            </a:extLst>
          </p:cNvPr>
          <p:cNvSpPr/>
          <p:nvPr/>
        </p:nvSpPr>
        <p:spPr>
          <a:xfrm>
            <a:off x="1371597" y="2731541"/>
            <a:ext cx="1547290" cy="29183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233EB96-9527-3147-DC64-F66364C24211}"/>
              </a:ext>
            </a:extLst>
          </p:cNvPr>
          <p:cNvSpPr txBox="1"/>
          <p:nvPr/>
        </p:nvSpPr>
        <p:spPr>
          <a:xfrm>
            <a:off x="96227" y="3458583"/>
            <a:ext cx="1013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staging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8E1F17-8D6F-7B24-CCED-C607F2795FBA}"/>
              </a:ext>
            </a:extLst>
          </p:cNvPr>
          <p:cNvSpPr txBox="1"/>
          <p:nvPr/>
        </p:nvSpPr>
        <p:spPr>
          <a:xfrm>
            <a:off x="1088891" y="3023371"/>
            <a:ext cx="20963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same as in type 1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id="{9BE160AB-5D5F-BB92-C969-921E2A7CA19C}"/>
              </a:ext>
            </a:extLst>
          </p:cNvPr>
          <p:cNvSpPr/>
          <p:nvPr/>
        </p:nvSpPr>
        <p:spPr>
          <a:xfrm>
            <a:off x="2918887" y="2372719"/>
            <a:ext cx="1683342" cy="1019984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EW?</a:t>
            </a:r>
            <a:endParaRPr lang="nl-B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CEFC580-ADE6-22B3-7447-6210726613E4}"/>
              </a:ext>
            </a:extLst>
          </p:cNvPr>
          <p:cNvGrpSpPr/>
          <p:nvPr/>
        </p:nvGrpSpPr>
        <p:grpSpPr>
          <a:xfrm>
            <a:off x="3642464" y="1565015"/>
            <a:ext cx="1683342" cy="807704"/>
            <a:chOff x="5535038" y="2474159"/>
            <a:chExt cx="1683342" cy="807704"/>
          </a:xfrm>
        </p:grpSpPr>
        <p:sp>
          <p:nvSpPr>
            <p:cNvPr id="9" name="Arrow: Bent 8">
              <a:extLst>
                <a:ext uri="{FF2B5EF4-FFF2-40B4-BE49-F238E27FC236}">
                  <a16:creationId xmlns:a16="http://schemas.microsoft.com/office/drawing/2014/main" id="{4F9BAC7B-3BD7-253F-9CB3-4183CED8BA3B}"/>
                </a:ext>
              </a:extLst>
            </p:cNvPr>
            <p:cNvSpPr/>
            <p:nvPr/>
          </p:nvSpPr>
          <p:spPr>
            <a:xfrm>
              <a:off x="5535038" y="2474159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F72FE17-D7F2-656F-13C0-62F893C325D6}"/>
                </a:ext>
              </a:extLst>
            </p:cNvPr>
            <p:cNvSpPr txBox="1"/>
            <p:nvPr/>
          </p:nvSpPr>
          <p:spPr>
            <a:xfrm>
              <a:off x="6182463" y="247415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yes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Flowchart: Terminator 11">
            <a:extLst>
              <a:ext uri="{FF2B5EF4-FFF2-40B4-BE49-F238E27FC236}">
                <a16:creationId xmlns:a16="http://schemas.microsoft.com/office/drawing/2014/main" id="{636417C1-E047-0CCF-554F-E7B86C009114}"/>
              </a:ext>
            </a:extLst>
          </p:cNvPr>
          <p:cNvSpPr/>
          <p:nvPr/>
        </p:nvSpPr>
        <p:spPr>
          <a:xfrm>
            <a:off x="5325806" y="1463286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sert</a:t>
            </a:r>
            <a:endParaRPr lang="nl-BE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3849B6-B096-6ADA-869A-81210AD64B44}"/>
              </a:ext>
            </a:extLst>
          </p:cNvPr>
          <p:cNvGrpSpPr/>
          <p:nvPr/>
        </p:nvGrpSpPr>
        <p:grpSpPr>
          <a:xfrm>
            <a:off x="3642464" y="3392703"/>
            <a:ext cx="1683342" cy="807704"/>
            <a:chOff x="5535038" y="4301847"/>
            <a:chExt cx="1683342" cy="807704"/>
          </a:xfrm>
        </p:grpSpPr>
        <p:sp>
          <p:nvSpPr>
            <p:cNvPr id="13" name="Arrow: Bent 12">
              <a:extLst>
                <a:ext uri="{FF2B5EF4-FFF2-40B4-BE49-F238E27FC236}">
                  <a16:creationId xmlns:a16="http://schemas.microsoft.com/office/drawing/2014/main" id="{209C3ECA-8CEC-196B-0E98-7027E6946402}"/>
                </a:ext>
              </a:extLst>
            </p:cNvPr>
            <p:cNvSpPr/>
            <p:nvPr/>
          </p:nvSpPr>
          <p:spPr>
            <a:xfrm flipV="1">
              <a:off x="5535038" y="4301847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58E3A5D-C91F-B8C5-9E06-1D4F6F77903E}"/>
                </a:ext>
              </a:extLst>
            </p:cNvPr>
            <p:cNvSpPr txBox="1"/>
            <p:nvPr/>
          </p:nvSpPr>
          <p:spPr>
            <a:xfrm>
              <a:off x="6182463" y="470569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no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15" name="Diamond 14">
            <a:extLst>
              <a:ext uri="{FF2B5EF4-FFF2-40B4-BE49-F238E27FC236}">
                <a16:creationId xmlns:a16="http://schemas.microsoft.com/office/drawing/2014/main" id="{7728E823-E129-BA42-DD8A-69188D9C1C77}"/>
              </a:ext>
            </a:extLst>
          </p:cNvPr>
          <p:cNvSpPr/>
          <p:nvPr/>
        </p:nvSpPr>
        <p:spPr>
          <a:xfrm>
            <a:off x="5337832" y="3320799"/>
            <a:ext cx="1862930" cy="1341931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&lt;&gt;  type 2 hash?</a:t>
            </a:r>
            <a:endParaRPr lang="nl-BE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8FCC33-E8F0-88F0-2C81-7D05E328270D}"/>
              </a:ext>
            </a:extLst>
          </p:cNvPr>
          <p:cNvGrpSpPr/>
          <p:nvPr/>
        </p:nvGrpSpPr>
        <p:grpSpPr>
          <a:xfrm>
            <a:off x="6167477" y="2508886"/>
            <a:ext cx="1683342" cy="807704"/>
            <a:chOff x="5535038" y="2474159"/>
            <a:chExt cx="1683342" cy="807704"/>
          </a:xfrm>
        </p:grpSpPr>
        <p:sp>
          <p:nvSpPr>
            <p:cNvPr id="19" name="Arrow: Bent 18">
              <a:extLst>
                <a:ext uri="{FF2B5EF4-FFF2-40B4-BE49-F238E27FC236}">
                  <a16:creationId xmlns:a16="http://schemas.microsoft.com/office/drawing/2014/main" id="{9C183E6B-1016-6230-1D25-DF6A23F814B0}"/>
                </a:ext>
              </a:extLst>
            </p:cNvPr>
            <p:cNvSpPr/>
            <p:nvPr/>
          </p:nvSpPr>
          <p:spPr>
            <a:xfrm>
              <a:off x="5535038" y="2474159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AE0B93F-27AA-CD1A-0EF5-53DF578079BC}"/>
                </a:ext>
              </a:extLst>
            </p:cNvPr>
            <p:cNvSpPr txBox="1"/>
            <p:nvPr/>
          </p:nvSpPr>
          <p:spPr>
            <a:xfrm>
              <a:off x="6182463" y="247415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yes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21" name="Flowchart: Terminator 20">
            <a:extLst>
              <a:ext uri="{FF2B5EF4-FFF2-40B4-BE49-F238E27FC236}">
                <a16:creationId xmlns:a16="http://schemas.microsoft.com/office/drawing/2014/main" id="{5EC26CDF-2709-68B1-7526-9AFC64230AD0}"/>
              </a:ext>
            </a:extLst>
          </p:cNvPr>
          <p:cNvSpPr/>
          <p:nvPr/>
        </p:nvSpPr>
        <p:spPr>
          <a:xfrm>
            <a:off x="7850819" y="2419590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sert</a:t>
            </a:r>
            <a:endParaRPr lang="nl-BE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8784CA2-18C4-E934-A61E-BAFC718836FB}"/>
              </a:ext>
            </a:extLst>
          </p:cNvPr>
          <p:cNvGrpSpPr/>
          <p:nvPr/>
        </p:nvGrpSpPr>
        <p:grpSpPr>
          <a:xfrm>
            <a:off x="6167477" y="4662730"/>
            <a:ext cx="1683342" cy="807704"/>
            <a:chOff x="5535038" y="4301847"/>
            <a:chExt cx="1683342" cy="807704"/>
          </a:xfrm>
        </p:grpSpPr>
        <p:sp>
          <p:nvSpPr>
            <p:cNvPr id="23" name="Arrow: Bent 22">
              <a:extLst>
                <a:ext uri="{FF2B5EF4-FFF2-40B4-BE49-F238E27FC236}">
                  <a16:creationId xmlns:a16="http://schemas.microsoft.com/office/drawing/2014/main" id="{14A355C3-F981-2C6C-8FB3-D892845F549D}"/>
                </a:ext>
              </a:extLst>
            </p:cNvPr>
            <p:cNvSpPr/>
            <p:nvPr/>
          </p:nvSpPr>
          <p:spPr>
            <a:xfrm flipV="1">
              <a:off x="5535038" y="4301847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637DAA1-0292-70B9-8295-E2674E4E9F63}"/>
                </a:ext>
              </a:extLst>
            </p:cNvPr>
            <p:cNvSpPr txBox="1"/>
            <p:nvPr/>
          </p:nvSpPr>
          <p:spPr>
            <a:xfrm>
              <a:off x="6182463" y="470569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no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25" name="Flowchart: Terminator 24">
            <a:extLst>
              <a:ext uri="{FF2B5EF4-FFF2-40B4-BE49-F238E27FC236}">
                <a16:creationId xmlns:a16="http://schemas.microsoft.com/office/drawing/2014/main" id="{D052208E-AD50-7EF8-E782-19A6D02171B8}"/>
              </a:ext>
            </a:extLst>
          </p:cNvPr>
          <p:cNvSpPr/>
          <p:nvPr/>
        </p:nvSpPr>
        <p:spPr>
          <a:xfrm>
            <a:off x="10375832" y="6236769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gnore</a:t>
            </a:r>
            <a:endParaRPr lang="nl-BE" dirty="0"/>
          </a:p>
        </p:txBody>
      </p:sp>
      <p:sp>
        <p:nvSpPr>
          <p:cNvPr id="3" name="Diamond 2">
            <a:extLst>
              <a:ext uri="{FF2B5EF4-FFF2-40B4-BE49-F238E27FC236}">
                <a16:creationId xmlns:a16="http://schemas.microsoft.com/office/drawing/2014/main" id="{96A76518-5DA7-281A-41CF-A40AD7AF3D23}"/>
              </a:ext>
            </a:extLst>
          </p:cNvPr>
          <p:cNvSpPr/>
          <p:nvPr/>
        </p:nvSpPr>
        <p:spPr>
          <a:xfrm>
            <a:off x="7848187" y="4580282"/>
            <a:ext cx="1862930" cy="1341931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&lt;&gt;  type 1 hash?</a:t>
            </a:r>
            <a:endParaRPr lang="nl-BE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65CCB23-977B-EB1F-EE74-CA75BBC275EC}"/>
              </a:ext>
            </a:extLst>
          </p:cNvPr>
          <p:cNvGrpSpPr/>
          <p:nvPr/>
        </p:nvGrpSpPr>
        <p:grpSpPr>
          <a:xfrm>
            <a:off x="8692490" y="3772578"/>
            <a:ext cx="1683342" cy="807704"/>
            <a:chOff x="5535038" y="2474159"/>
            <a:chExt cx="1683342" cy="807704"/>
          </a:xfrm>
        </p:grpSpPr>
        <p:sp>
          <p:nvSpPr>
            <p:cNvPr id="26" name="Arrow: Bent 25">
              <a:extLst>
                <a:ext uri="{FF2B5EF4-FFF2-40B4-BE49-F238E27FC236}">
                  <a16:creationId xmlns:a16="http://schemas.microsoft.com/office/drawing/2014/main" id="{09D8B417-FDA7-8F62-0C91-9E4E9E00E88C}"/>
                </a:ext>
              </a:extLst>
            </p:cNvPr>
            <p:cNvSpPr/>
            <p:nvPr/>
          </p:nvSpPr>
          <p:spPr>
            <a:xfrm>
              <a:off x="5535038" y="2474159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B1D29D8-36FA-B016-1F5E-EAB0D2EFEAC5}"/>
                </a:ext>
              </a:extLst>
            </p:cNvPr>
            <p:cNvSpPr txBox="1"/>
            <p:nvPr/>
          </p:nvSpPr>
          <p:spPr>
            <a:xfrm>
              <a:off x="6182463" y="247415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yes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28" name="Flowchart: Terminator 27">
            <a:extLst>
              <a:ext uri="{FF2B5EF4-FFF2-40B4-BE49-F238E27FC236}">
                <a16:creationId xmlns:a16="http://schemas.microsoft.com/office/drawing/2014/main" id="{72B9E146-09CC-68FB-CD45-112E738B67D8}"/>
              </a:ext>
            </a:extLst>
          </p:cNvPr>
          <p:cNvSpPr/>
          <p:nvPr/>
        </p:nvSpPr>
        <p:spPr>
          <a:xfrm>
            <a:off x="10375832" y="3683282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pdate</a:t>
            </a:r>
            <a:endParaRPr lang="nl-BE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F3816A0-EF78-FC1D-6268-605C840649CE}"/>
              </a:ext>
            </a:extLst>
          </p:cNvPr>
          <p:cNvGrpSpPr/>
          <p:nvPr/>
        </p:nvGrpSpPr>
        <p:grpSpPr>
          <a:xfrm>
            <a:off x="8692490" y="5922213"/>
            <a:ext cx="1683342" cy="807704"/>
            <a:chOff x="5535038" y="4301847"/>
            <a:chExt cx="1683342" cy="807704"/>
          </a:xfrm>
        </p:grpSpPr>
        <p:sp>
          <p:nvSpPr>
            <p:cNvPr id="30" name="Arrow: Bent 29">
              <a:extLst>
                <a:ext uri="{FF2B5EF4-FFF2-40B4-BE49-F238E27FC236}">
                  <a16:creationId xmlns:a16="http://schemas.microsoft.com/office/drawing/2014/main" id="{FE71AD4D-62E2-BBAF-4A60-C4DC08011C84}"/>
                </a:ext>
              </a:extLst>
            </p:cNvPr>
            <p:cNvSpPr/>
            <p:nvPr/>
          </p:nvSpPr>
          <p:spPr>
            <a:xfrm flipV="1">
              <a:off x="5535038" y="4301847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B8B06AA-CD71-4A97-3D6D-16DE3C003BDE}"/>
                </a:ext>
              </a:extLst>
            </p:cNvPr>
            <p:cNvSpPr txBox="1"/>
            <p:nvPr/>
          </p:nvSpPr>
          <p:spPr>
            <a:xfrm>
              <a:off x="6182463" y="470569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no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452553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A73F08-7D07-F1AD-8AF3-3663729E6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2 dimension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E25672-6316-CC88-2970-D5B8E6AA4F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860" y="2346956"/>
            <a:ext cx="11906279" cy="239041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314B4AF-AA97-B917-D416-A248228E396C}"/>
              </a:ext>
            </a:extLst>
          </p:cNvPr>
          <p:cNvSpPr txBox="1"/>
          <p:nvPr/>
        </p:nvSpPr>
        <p:spPr>
          <a:xfrm>
            <a:off x="116217" y="2362103"/>
            <a:ext cx="837094" cy="2375267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7F6FF57-2547-C01A-ADEF-41FD2C25D0DB}"/>
              </a:ext>
            </a:extLst>
          </p:cNvPr>
          <p:cNvSpPr txBox="1"/>
          <p:nvPr/>
        </p:nvSpPr>
        <p:spPr>
          <a:xfrm>
            <a:off x="0" y="4764360"/>
            <a:ext cx="35895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SK = identity(1,1) = PK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E2B2FC3-A9DE-009F-D262-FD24D62F946B}"/>
              </a:ext>
            </a:extLst>
          </p:cNvPr>
          <p:cNvSpPr txBox="1"/>
          <p:nvPr/>
        </p:nvSpPr>
        <p:spPr>
          <a:xfrm>
            <a:off x="979954" y="2362103"/>
            <a:ext cx="721983" cy="2375267"/>
          </a:xfrm>
          <a:prstGeom prst="rect">
            <a:avLst/>
          </a:prstGeom>
          <a:noFill/>
          <a:ln w="444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DBFC56C-747D-E3F0-2531-A67994D0A05C}"/>
              </a:ext>
            </a:extLst>
          </p:cNvPr>
          <p:cNvSpPr txBox="1"/>
          <p:nvPr/>
        </p:nvSpPr>
        <p:spPr>
          <a:xfrm>
            <a:off x="751354" y="5148203"/>
            <a:ext cx="4803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188F"/>
                </a:solidFill>
              </a:rPr>
              <a:t>BK + valid from = unique index</a:t>
            </a:r>
            <a:endParaRPr lang="nl-BE" sz="2400" dirty="0">
              <a:solidFill>
                <a:srgbClr val="00188F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0EFD9C4-3405-B08D-732F-8017609B1FE5}"/>
              </a:ext>
            </a:extLst>
          </p:cNvPr>
          <p:cNvSpPr txBox="1"/>
          <p:nvPr/>
        </p:nvSpPr>
        <p:spPr>
          <a:xfrm>
            <a:off x="8369733" y="2346956"/>
            <a:ext cx="721983" cy="2375267"/>
          </a:xfrm>
          <a:prstGeom prst="rect">
            <a:avLst/>
          </a:prstGeom>
          <a:noFill/>
          <a:ln w="444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D699C9B-4E72-89BA-3512-E01F021AB8E9}"/>
              </a:ext>
            </a:extLst>
          </p:cNvPr>
          <p:cNvSpPr txBox="1"/>
          <p:nvPr/>
        </p:nvSpPr>
        <p:spPr>
          <a:xfrm>
            <a:off x="5958299" y="2346956"/>
            <a:ext cx="2411433" cy="239041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308027C-B4E4-E015-C632-5FA0B385D120}"/>
              </a:ext>
            </a:extLst>
          </p:cNvPr>
          <p:cNvSpPr txBox="1"/>
          <p:nvPr/>
        </p:nvSpPr>
        <p:spPr>
          <a:xfrm>
            <a:off x="6049688" y="4759744"/>
            <a:ext cx="2263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audit column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B08D9EE-69DD-C78D-7B4D-F0740509202D}"/>
              </a:ext>
            </a:extLst>
          </p:cNvPr>
          <p:cNvSpPr txBox="1"/>
          <p:nvPr/>
        </p:nvSpPr>
        <p:spPr>
          <a:xfrm>
            <a:off x="9842770" y="2346956"/>
            <a:ext cx="2206370" cy="2412788"/>
          </a:xfrm>
          <a:prstGeom prst="rect">
            <a:avLst/>
          </a:prstGeom>
          <a:noFill/>
          <a:ln w="444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B68AED8-6D7F-871C-0B3C-C079DBD4AA13}"/>
              </a:ext>
            </a:extLst>
          </p:cNvPr>
          <p:cNvSpPr txBox="1"/>
          <p:nvPr/>
        </p:nvSpPr>
        <p:spPr>
          <a:xfrm>
            <a:off x="9834663" y="1842202"/>
            <a:ext cx="2263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188F"/>
                </a:solidFill>
              </a:rPr>
              <a:t>hashes</a:t>
            </a:r>
            <a:endParaRPr lang="nl-BE" sz="2400" dirty="0">
              <a:solidFill>
                <a:srgbClr val="0018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6817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 animBg="1"/>
      <p:bldP spid="9" grpId="0"/>
      <p:bldP spid="10" grpId="0" animBg="1"/>
      <p:bldP spid="11" grpId="0" animBg="1"/>
      <p:bldP spid="12" grpId="0"/>
      <p:bldP spid="13" grpId="0" animBg="1"/>
      <p:bldP spid="14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3829DA-4144-E394-4DC2-E59D3DCE6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ct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E1D4E0-5211-CF6C-8587-4CFF18F459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ransactional</a:t>
            </a:r>
          </a:p>
          <a:p>
            <a:pPr lvl="1"/>
            <a:r>
              <a:rPr lang="en-US" dirty="0"/>
              <a:t>TRUNCATE TABLE + full load is </a:t>
            </a:r>
            <a:r>
              <a:rPr lang="en-US" b="1" dirty="0"/>
              <a:t>default</a:t>
            </a:r>
          </a:p>
          <a:p>
            <a:pPr lvl="1"/>
            <a:r>
              <a:rPr lang="en-US" dirty="0"/>
              <a:t>if necessary, incremental load on some column</a:t>
            </a:r>
          </a:p>
          <a:p>
            <a:pPr lvl="1"/>
            <a:endParaRPr lang="en-US" dirty="0"/>
          </a:p>
          <a:p>
            <a:r>
              <a:rPr lang="en-US" dirty="0"/>
              <a:t>snapshot</a:t>
            </a:r>
          </a:p>
          <a:p>
            <a:pPr lvl="1"/>
            <a:r>
              <a:rPr lang="en-US" dirty="0"/>
              <a:t>view on source returns current snapshot</a:t>
            </a:r>
          </a:p>
          <a:p>
            <a:pPr lvl="1"/>
            <a:r>
              <a:rPr lang="en-US" dirty="0"/>
              <a:t>INSERT current snapshot in fact table</a:t>
            </a:r>
          </a:p>
          <a:p>
            <a:pPr lvl="1"/>
            <a:r>
              <a:rPr lang="en-US" dirty="0"/>
              <a:t>DELETE first if the current snapshot is already in the fact table</a:t>
            </a:r>
          </a:p>
          <a:p>
            <a:pPr lvl="1"/>
            <a:endParaRPr lang="en-US" dirty="0"/>
          </a:p>
          <a:p>
            <a:r>
              <a:rPr lang="en-US" dirty="0"/>
              <a:t>accumulating snapshot</a:t>
            </a:r>
          </a:p>
          <a:p>
            <a:pPr lvl="1"/>
            <a:r>
              <a:rPr lang="en-US" dirty="0"/>
              <a:t>view returns current state</a:t>
            </a:r>
          </a:p>
          <a:p>
            <a:pPr lvl="1"/>
            <a:r>
              <a:rPr lang="en-US" dirty="0"/>
              <a:t>INSERT for new items</a:t>
            </a:r>
          </a:p>
          <a:p>
            <a:pPr lvl="1"/>
            <a:r>
              <a:rPr lang="en-US" dirty="0"/>
              <a:t>UPDATE for existing items</a:t>
            </a:r>
            <a:endParaRPr lang="nl-BE" dirty="0"/>
          </a:p>
        </p:txBody>
      </p:sp>
      <p:pic>
        <p:nvPicPr>
          <p:cNvPr id="2050" name="Picture 2" descr="The Data Warehouse Toolkit: The Definitive Guide to Dimensional Modeling:  Kimball, Ralph, Ross, Margy: 8601405019745: Amazon.com: Books">
            <a:extLst>
              <a:ext uri="{FF2B5EF4-FFF2-40B4-BE49-F238E27FC236}">
                <a16:creationId xmlns:a16="http://schemas.microsoft.com/office/drawing/2014/main" id="{FA2E4A7F-9399-E3FB-E62C-D9C8ECAE20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2788" y="4513634"/>
            <a:ext cx="1859212" cy="2344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2611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74FAD5-410E-8C80-3E66-914B371D0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pic>
        <p:nvPicPr>
          <p:cNvPr id="4" name="Picture 2" descr="Afbeeldingsresultaat voor duplo race">
            <a:extLst>
              <a:ext uri="{FF2B5EF4-FFF2-40B4-BE49-F238E27FC236}">
                <a16:creationId xmlns:a16="http://schemas.microsoft.com/office/drawing/2014/main" id="{6C1FDCF8-A875-D234-AFE0-87CDA87682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9784" y="2140674"/>
            <a:ext cx="5092390" cy="3819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028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5834C6-6C42-2B09-A23C-CC6BAFC907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F736B8-583A-4246-F63D-6523F81591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don’t use views when</a:t>
            </a:r>
          </a:p>
          <a:p>
            <a:pPr lvl="1"/>
            <a:r>
              <a:rPr lang="en-US" sz="2400" dirty="0"/>
              <a:t>performance is suffering</a:t>
            </a:r>
          </a:p>
          <a:p>
            <a:pPr lvl="1"/>
            <a:r>
              <a:rPr lang="en-US" sz="2400" dirty="0"/>
              <a:t>the logic is becoming too complex,</a:t>
            </a:r>
            <a:br>
              <a:rPr lang="en-US" sz="2400" dirty="0"/>
            </a:br>
            <a:r>
              <a:rPr lang="en-US" sz="2400" dirty="0"/>
              <a:t>and you want to cut it into pieces</a:t>
            </a:r>
          </a:p>
          <a:p>
            <a:pPr lvl="1"/>
            <a:endParaRPr lang="en-US" sz="2400" dirty="0"/>
          </a:p>
          <a:p>
            <a:pPr lvl="1"/>
            <a:r>
              <a:rPr lang="en-US" sz="2400" dirty="0"/>
              <a:t>you know… as a last resort</a:t>
            </a:r>
          </a:p>
          <a:p>
            <a:pPr lvl="1"/>
            <a:endParaRPr lang="en-US" sz="2400" dirty="0"/>
          </a:p>
          <a:p>
            <a:pPr lvl="1"/>
            <a:endParaRPr lang="en-US" sz="2400" dirty="0"/>
          </a:p>
          <a:p>
            <a:pPr lvl="1"/>
            <a:r>
              <a:rPr lang="en-US" sz="2400" dirty="0"/>
              <a:t>use stored procs instead</a:t>
            </a:r>
            <a:endParaRPr lang="nl-BE" sz="2400" dirty="0"/>
          </a:p>
        </p:txBody>
      </p:sp>
      <p:pic>
        <p:nvPicPr>
          <p:cNvPr id="1026" name="Picture 2" descr="Papa Roach - #ThrowbackThursday Let the memories flow in the comments... # paparoach #lastresort #infest | Facebook">
            <a:extLst>
              <a:ext uri="{FF2B5EF4-FFF2-40B4-BE49-F238E27FC236}">
                <a16:creationId xmlns:a16="http://schemas.microsoft.com/office/drawing/2014/main" id="{6CC2A0A1-DC9D-BEB0-3DB8-5486C35427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5830" y="1457011"/>
            <a:ext cx="4162941" cy="2339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928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2DBD6B-020D-C973-7D7C-F7E2C164D1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adata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6D03BE-A57F-6A51-35C1-608C51C656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dependencies between tables</a:t>
            </a:r>
          </a:p>
          <a:p>
            <a:pPr lvl="1"/>
            <a:r>
              <a:rPr lang="en-US" sz="2400" dirty="0"/>
              <a:t>first dimensions</a:t>
            </a:r>
          </a:p>
          <a:p>
            <a:pPr lvl="1"/>
            <a:r>
              <a:rPr lang="en-US" sz="2400" dirty="0"/>
              <a:t>then facts</a:t>
            </a:r>
          </a:p>
          <a:p>
            <a:pPr lvl="1"/>
            <a:r>
              <a:rPr lang="en-US" sz="2400" dirty="0"/>
              <a:t>then facts on top of other facts</a:t>
            </a:r>
          </a:p>
          <a:p>
            <a:pPr lvl="1"/>
            <a:endParaRPr lang="en-US" sz="2400" dirty="0"/>
          </a:p>
          <a:p>
            <a:r>
              <a:rPr lang="en-US" sz="2800" dirty="0"/>
              <a:t>business keys &amp; which loading pattern</a:t>
            </a:r>
          </a:p>
          <a:p>
            <a:endParaRPr lang="en-US" sz="2800" dirty="0"/>
          </a:p>
          <a:p>
            <a:r>
              <a:rPr lang="en-US" sz="2800" dirty="0"/>
              <a:t>ADF loops over this table and executes all statements in the correct order</a:t>
            </a:r>
            <a:endParaRPr lang="nl-BE" sz="2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CEF13D9-C1BE-3398-21B5-13559AF178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30818"/>
            <a:ext cx="12192000" cy="936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100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2893E6-399E-24D7-1CF3-6AF5A94C74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T flow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9E5761D-D521-1840-45FD-126283ACC6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637869"/>
            <a:ext cx="12192000" cy="215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330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2893E6-399E-24D7-1CF3-6AF5A94C74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T flow – load DWH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3F7889E-FEA3-8994-F34B-F6F95CB0D6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620" y="1961534"/>
            <a:ext cx="4660975" cy="223338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DC710F5-136C-D1D9-E660-4D56E4EAC1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0894" y="3374188"/>
            <a:ext cx="6248942" cy="2171888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553957A-EE5D-43B6-66C0-CED1A048F064}"/>
              </a:ext>
            </a:extLst>
          </p:cNvPr>
          <p:cNvCxnSpPr>
            <a:cxnSpLocks/>
          </p:cNvCxnSpPr>
          <p:nvPr/>
        </p:nvCxnSpPr>
        <p:spPr>
          <a:xfrm>
            <a:off x="3706239" y="3740285"/>
            <a:ext cx="1486356" cy="454633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BF98153F-8FBF-FD4D-B976-1B130C119B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5930818"/>
            <a:ext cx="12192000" cy="93651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F00819B-AD31-D629-9771-B04FB7230103}"/>
              </a:ext>
            </a:extLst>
          </p:cNvPr>
          <p:cNvSpPr txBox="1"/>
          <p:nvPr/>
        </p:nvSpPr>
        <p:spPr>
          <a:xfrm>
            <a:off x="7402352" y="6079787"/>
            <a:ext cx="2947878" cy="77821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C22CC57-4DDC-8791-E4B0-21D5C17F5A40}"/>
              </a:ext>
            </a:extLst>
          </p:cNvPr>
          <p:cNvCxnSpPr>
            <a:cxnSpLocks/>
          </p:cNvCxnSpPr>
          <p:nvPr/>
        </p:nvCxnSpPr>
        <p:spPr>
          <a:xfrm flipV="1">
            <a:off x="8519614" y="5058383"/>
            <a:ext cx="468743" cy="1021404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382690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7E5876-0D3B-876F-8DAF-5AA768D74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 DWH up and down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C2B7358-B7C8-D0DC-770F-34DB428EB9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25572" y="2646268"/>
            <a:ext cx="8269705" cy="312889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ECC82E6-42F9-FC95-1AC2-43D89EB4AF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28576"/>
            <a:ext cx="3825572" cy="4000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694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AED8F2-E66A-D430-8553-DDE6791B5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877D67-D6A4-150B-0BA2-954FA88689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ow To Scale Azure SQL Database In Azure Data Factory Using A Web Activity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34229894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demo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302178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D26A323-ADFE-A02B-E06E-9E5FC358A01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odel &amp; serve</a:t>
            </a:r>
            <a:endParaRPr lang="nl-BE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C6AC153-25A0-2525-2321-761831C6E71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57152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0225E21-0573-7869-687F-FCE8FAA0C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BI</a:t>
            </a:r>
            <a:endParaRPr lang="nl-BE" dirty="0"/>
          </a:p>
        </p:txBody>
      </p:sp>
      <p:pic>
        <p:nvPicPr>
          <p:cNvPr id="6" name="Picture 5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AB09D874-90E2-1680-094F-5E16AD4F59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610" y="1644258"/>
            <a:ext cx="4032780" cy="4032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49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838213-5A9A-A871-8B92-907000BFE8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BI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598C71-804D-70A9-F633-F719ACFF59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1353800" cy="4719952"/>
          </a:xfrm>
        </p:spPr>
        <p:txBody>
          <a:bodyPr>
            <a:normAutofit/>
          </a:bodyPr>
          <a:lstStyle/>
          <a:p>
            <a:r>
              <a:rPr lang="en-US" sz="2800" b="1" dirty="0"/>
              <a:t>1 central model</a:t>
            </a:r>
            <a:r>
              <a:rPr lang="nl-BE" sz="2800" b="1" dirty="0"/>
              <a:t> </a:t>
            </a:r>
            <a:r>
              <a:rPr lang="nl-BE" sz="2800" dirty="0"/>
              <a:t>in a </a:t>
            </a:r>
            <a:r>
              <a:rPr lang="nl-BE" sz="2800" dirty="0" err="1"/>
              <a:t>workspace</a:t>
            </a:r>
            <a:r>
              <a:rPr lang="nl-BE" sz="2800" dirty="0"/>
              <a:t> </a:t>
            </a:r>
            <a:r>
              <a:rPr lang="nl-BE" sz="2800" dirty="0" err="1"/>
              <a:t>only</a:t>
            </a:r>
            <a:r>
              <a:rPr lang="nl-BE" sz="2800" dirty="0"/>
              <a:t> </a:t>
            </a:r>
            <a:r>
              <a:rPr lang="nl-BE" sz="2800" dirty="0" err="1"/>
              <a:t>admins</a:t>
            </a:r>
            <a:r>
              <a:rPr lang="nl-BE" sz="2800" dirty="0"/>
              <a:t> have access </a:t>
            </a:r>
            <a:r>
              <a:rPr lang="nl-BE" sz="2800" dirty="0" err="1"/>
              <a:t>to</a:t>
            </a:r>
            <a:endParaRPr lang="nl-BE" sz="2800" dirty="0"/>
          </a:p>
          <a:p>
            <a:r>
              <a:rPr lang="nl-BE" sz="2800" dirty="0" err="1"/>
              <a:t>reports</a:t>
            </a:r>
            <a:r>
              <a:rPr lang="nl-BE" sz="2800" dirty="0"/>
              <a:t> are </a:t>
            </a:r>
            <a:r>
              <a:rPr lang="nl-BE" sz="2800" dirty="0" err="1"/>
              <a:t>connected</a:t>
            </a:r>
            <a:r>
              <a:rPr lang="nl-BE" sz="2800" dirty="0"/>
              <a:t> </a:t>
            </a:r>
            <a:r>
              <a:rPr lang="nl-BE" sz="2800" dirty="0" err="1"/>
              <a:t>to</a:t>
            </a:r>
            <a:r>
              <a:rPr lang="nl-BE" sz="2800" dirty="0"/>
              <a:t> </a:t>
            </a:r>
            <a:r>
              <a:rPr lang="nl-BE" sz="2800" dirty="0" err="1"/>
              <a:t>this</a:t>
            </a:r>
            <a:r>
              <a:rPr lang="nl-BE" sz="2800" dirty="0"/>
              <a:t> </a:t>
            </a:r>
            <a:r>
              <a:rPr lang="nl-BE" sz="2800" dirty="0" err="1"/>
              <a:t>central</a:t>
            </a:r>
            <a:r>
              <a:rPr lang="nl-BE" sz="2800" dirty="0"/>
              <a:t> </a:t>
            </a:r>
            <a:r>
              <a:rPr lang="nl-BE" sz="2800" dirty="0" err="1"/>
              <a:t>semantic</a:t>
            </a:r>
            <a:r>
              <a:rPr lang="nl-BE" sz="2800" dirty="0"/>
              <a:t> model </a:t>
            </a:r>
            <a:r>
              <a:rPr lang="nl-BE" sz="2800" dirty="0" err="1"/>
              <a:t>and</a:t>
            </a:r>
            <a:r>
              <a:rPr lang="nl-BE" sz="2800" dirty="0"/>
              <a:t> have </a:t>
            </a:r>
            <a:r>
              <a:rPr lang="nl-BE" sz="2800" dirty="0" err="1"/>
              <a:t>their</a:t>
            </a:r>
            <a:r>
              <a:rPr lang="nl-BE" sz="2800" dirty="0"/>
              <a:t> </a:t>
            </a:r>
            <a:r>
              <a:rPr lang="nl-BE" sz="2800" dirty="0" err="1"/>
              <a:t>own</a:t>
            </a:r>
            <a:r>
              <a:rPr lang="nl-BE" sz="2800" dirty="0"/>
              <a:t> </a:t>
            </a:r>
            <a:r>
              <a:rPr lang="nl-BE" sz="2800" dirty="0" err="1"/>
              <a:t>workspace</a:t>
            </a:r>
            <a:r>
              <a:rPr lang="nl-BE" sz="2800" dirty="0"/>
              <a:t>/apps</a:t>
            </a:r>
          </a:p>
          <a:p>
            <a:endParaRPr lang="nl-BE" sz="2800" dirty="0"/>
          </a:p>
          <a:p>
            <a:r>
              <a:rPr lang="nl-BE" sz="2800" b="1" dirty="0"/>
              <a:t>import mode FTW</a:t>
            </a:r>
          </a:p>
          <a:p>
            <a:endParaRPr lang="nl-BE" sz="2800" dirty="0"/>
          </a:p>
          <a:p>
            <a:r>
              <a:rPr lang="nl-BE" sz="2800" dirty="0" err="1"/>
              <a:t>resize</a:t>
            </a:r>
            <a:r>
              <a:rPr lang="nl-BE" sz="2800" dirty="0"/>
              <a:t> database </a:t>
            </a:r>
            <a:r>
              <a:rPr lang="nl-BE" sz="2800" dirty="0" err="1"/>
              <a:t>to</a:t>
            </a:r>
            <a:r>
              <a:rPr lang="nl-BE" sz="2800" dirty="0"/>
              <a:t> S0 </a:t>
            </a:r>
            <a:r>
              <a:rPr lang="nl-BE" sz="2800" dirty="0" err="1"/>
              <a:t>once</a:t>
            </a:r>
            <a:r>
              <a:rPr lang="nl-BE" sz="2800" dirty="0"/>
              <a:t> Power BI has </a:t>
            </a:r>
            <a:r>
              <a:rPr lang="nl-BE" sz="2800" dirty="0" err="1"/>
              <a:t>finished</a:t>
            </a:r>
            <a:r>
              <a:rPr lang="nl-BE" sz="2800" dirty="0"/>
              <a:t> processing</a:t>
            </a:r>
          </a:p>
          <a:p>
            <a:r>
              <a:rPr lang="nl-BE" sz="2800" dirty="0"/>
              <a:t>ADF </a:t>
            </a:r>
            <a:r>
              <a:rPr lang="nl-BE" sz="2800" dirty="0" err="1"/>
              <a:t>can</a:t>
            </a:r>
            <a:r>
              <a:rPr lang="nl-BE" sz="2800" dirty="0"/>
              <a:t> </a:t>
            </a:r>
            <a:r>
              <a:rPr lang="nl-BE" sz="2800" dirty="0" err="1"/>
              <a:t>orchestrate</a:t>
            </a:r>
            <a:r>
              <a:rPr lang="nl-BE" sz="2800" dirty="0"/>
              <a:t> </a:t>
            </a:r>
            <a:r>
              <a:rPr lang="nl-BE" sz="2800" dirty="0" err="1"/>
              <a:t>this</a:t>
            </a:r>
            <a:r>
              <a:rPr lang="nl-BE" sz="2800" dirty="0"/>
              <a:t> </a:t>
            </a:r>
            <a:r>
              <a:rPr lang="nl-BE" sz="2800" dirty="0" err="1"/>
              <a:t>using</a:t>
            </a:r>
            <a:r>
              <a:rPr lang="nl-BE" sz="2800" dirty="0"/>
              <a:t> </a:t>
            </a:r>
            <a:r>
              <a:rPr lang="nl-BE" sz="2800" dirty="0" err="1"/>
              <a:t>the</a:t>
            </a:r>
            <a:r>
              <a:rPr lang="nl-BE" sz="2800" dirty="0"/>
              <a:t> Power BI REST API</a:t>
            </a:r>
            <a:endParaRPr lang="en-US" sz="2800" dirty="0"/>
          </a:p>
        </p:txBody>
      </p:sp>
      <p:pic>
        <p:nvPicPr>
          <p:cNvPr id="6" name="Content Placeholder 4" descr="A yellow and black rectangles&#10;&#10;Description automatically generated">
            <a:extLst>
              <a:ext uri="{FF2B5EF4-FFF2-40B4-BE49-F238E27FC236}">
                <a16:creationId xmlns:a16="http://schemas.microsoft.com/office/drawing/2014/main" id="{B892D60E-87BC-805A-1571-662B91C6D0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3120" y="5400989"/>
            <a:ext cx="981360" cy="130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877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4A891A68-40AF-E26C-EABC-39DE52EC40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648325" y="1434361"/>
            <a:ext cx="7952875" cy="4184387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7200" dirty="0"/>
          </a:p>
          <a:p>
            <a:pPr marL="0" indent="0">
              <a:buNone/>
            </a:pPr>
            <a:r>
              <a:rPr lang="en-US" sz="7200" dirty="0"/>
              <a:t>there are some assumptions…</a:t>
            </a:r>
            <a:endParaRPr lang="nl-BE" sz="7200" b="1" dirty="0"/>
          </a:p>
        </p:txBody>
      </p:sp>
    </p:spTree>
    <p:extLst>
      <p:ext uri="{BB962C8B-B14F-4D97-AF65-F5344CB8AC3E}">
        <p14:creationId xmlns:p14="http://schemas.microsoft.com/office/powerpoint/2010/main" val="3964894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A81169F-5EC3-B29A-A659-2BF9BB09A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33006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9392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B71782-09D3-D61F-E9A8-2AF311F1F0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24F9F8-F507-1F7B-560F-18BB6F3EF1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Refreshing a Power BI Dataset using Azure Data Factory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050327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D26A323-ADFE-A02B-E06E-9E5FC358A01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I / CD</a:t>
            </a:r>
            <a:endParaRPr lang="nl-BE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C6AC153-25A0-2525-2321-761831C6E71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59148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0FD85B5-970D-C026-4A6F-AE78A1160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Devops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1F11034-7A20-EF75-558B-4B04409E9A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urce control = git in Azure Repos</a:t>
            </a:r>
          </a:p>
          <a:p>
            <a:pPr lvl="1"/>
            <a:r>
              <a:rPr lang="en-US" dirty="0"/>
              <a:t>database: Visual Studio (SSDT) &amp; SSMS</a:t>
            </a:r>
          </a:p>
          <a:p>
            <a:pPr lvl="1"/>
            <a:r>
              <a:rPr lang="en-US" dirty="0"/>
              <a:t>Azure Functions: Visual Studio (Code)</a:t>
            </a:r>
          </a:p>
          <a:p>
            <a:pPr lvl="1"/>
            <a:r>
              <a:rPr lang="en-US" dirty="0"/>
              <a:t>ADF: browser</a:t>
            </a:r>
          </a:p>
          <a:p>
            <a:pPr lvl="1"/>
            <a:endParaRPr lang="en-US" dirty="0"/>
          </a:p>
          <a:p>
            <a:r>
              <a:rPr lang="en-US" dirty="0"/>
              <a:t>build pipelines runs after commit to </a:t>
            </a:r>
            <a:r>
              <a:rPr lang="en-US" i="1" dirty="0"/>
              <a:t>main</a:t>
            </a:r>
          </a:p>
          <a:p>
            <a:endParaRPr lang="en-US" i="1" dirty="0"/>
          </a:p>
          <a:p>
            <a:r>
              <a:rPr lang="en-US" dirty="0"/>
              <a:t>release pipelines to test/prod run manually</a:t>
            </a:r>
          </a:p>
          <a:p>
            <a:endParaRPr lang="en-US" dirty="0"/>
          </a:p>
          <a:p>
            <a:r>
              <a:rPr lang="en-US" dirty="0"/>
              <a:t>private project is free in Azure Devops when &lt;= 5 </a:t>
            </a:r>
            <a:r>
              <a:rPr lang="en-US" dirty="0" err="1"/>
              <a:t>devs</a:t>
            </a:r>
            <a:endParaRPr lang="en-US" dirty="0"/>
          </a:p>
          <a:p>
            <a:pPr lvl="1"/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26711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D26A323-ADFE-A02B-E06E-9E5FC358A0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2" y="799151"/>
            <a:ext cx="8616713" cy="1903106"/>
          </a:xfrm>
        </p:spPr>
        <p:txBody>
          <a:bodyPr/>
          <a:lstStyle/>
          <a:p>
            <a:r>
              <a:rPr lang="en-US" dirty="0"/>
              <a:t>what about Fabric?</a:t>
            </a:r>
            <a:endParaRPr lang="nl-BE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C6AC153-25A0-2525-2321-761831C6E71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180879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BBF702F-F8B0-E202-8B70-5F929454E8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rything in one single platform</a:t>
            </a:r>
            <a:endParaRPr lang="nl-BE" dirty="0"/>
          </a:p>
        </p:txBody>
      </p:sp>
      <p:pic>
        <p:nvPicPr>
          <p:cNvPr id="5" name="Afbeelding 6">
            <a:extLst>
              <a:ext uri="{FF2B5EF4-FFF2-40B4-BE49-F238E27FC236}">
                <a16:creationId xmlns:a16="http://schemas.microsoft.com/office/drawing/2014/main" id="{D1109A36-0A86-83AD-2CF7-B9262F7BB5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9220" y="1816492"/>
            <a:ext cx="9053345" cy="4395597"/>
          </a:xfrm>
          <a:prstGeom prst="rect">
            <a:avLst/>
          </a:prstGeom>
        </p:spPr>
      </p:pic>
      <p:pic>
        <p:nvPicPr>
          <p:cNvPr id="7" name="Afbeelding 9" descr="Afbeelding met schermopname, Graphics, grafische vormgeving, ontwerp&#10;&#10;Automatisch gegenereerde beschrijving">
            <a:extLst>
              <a:ext uri="{FF2B5EF4-FFF2-40B4-BE49-F238E27FC236}">
                <a16:creationId xmlns:a16="http://schemas.microsoft.com/office/drawing/2014/main" id="{6805FAB6-EB3F-1A86-D1FB-F5B2DEC9C5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882" y="1662222"/>
            <a:ext cx="756115" cy="756115"/>
          </a:xfrm>
          <a:prstGeom prst="rect">
            <a:avLst/>
          </a:prstGeom>
        </p:spPr>
      </p:pic>
      <p:pic>
        <p:nvPicPr>
          <p:cNvPr id="8" name="Afbeelding 11" descr="Afbeelding met Graphics, Kleurrijkheid, cirkel, creativiteit&#10;&#10;Automatisch gegenereerde beschrijving">
            <a:extLst>
              <a:ext uri="{FF2B5EF4-FFF2-40B4-BE49-F238E27FC236}">
                <a16:creationId xmlns:a16="http://schemas.microsoft.com/office/drawing/2014/main" id="{6BB6D1A0-4441-18E3-C866-25707ABA90F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0069" y="3444774"/>
            <a:ext cx="299357" cy="299942"/>
          </a:xfrm>
          <a:prstGeom prst="rect">
            <a:avLst/>
          </a:prstGeom>
        </p:spPr>
      </p:pic>
      <p:pic>
        <p:nvPicPr>
          <p:cNvPr id="9" name="Afbeelding 13" descr="Afbeelding met geel, schermopname, ontwerp&#10;&#10;Automatisch gegenereerde beschrijving">
            <a:extLst>
              <a:ext uri="{FF2B5EF4-FFF2-40B4-BE49-F238E27FC236}">
                <a16:creationId xmlns:a16="http://schemas.microsoft.com/office/drawing/2014/main" id="{0B946084-81EB-3515-1D3E-BEEF0DB972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8963" y="1956845"/>
            <a:ext cx="587204" cy="588351"/>
          </a:xfrm>
          <a:prstGeom prst="rect">
            <a:avLst/>
          </a:prstGeom>
        </p:spPr>
      </p:pic>
      <p:pic>
        <p:nvPicPr>
          <p:cNvPr id="10" name="Afbeelding 15" descr="Afbeelding met schermopname, Elektrisch blauw, Graphics, ontwerp&#10;&#10;Automatisch gegenereerde beschrijving">
            <a:extLst>
              <a:ext uri="{FF2B5EF4-FFF2-40B4-BE49-F238E27FC236}">
                <a16:creationId xmlns:a16="http://schemas.microsoft.com/office/drawing/2014/main" id="{EFBB0480-8462-11CB-3AF1-687BEE6A77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6584" y="2840649"/>
            <a:ext cx="619583" cy="620793"/>
          </a:xfrm>
          <a:prstGeom prst="rect">
            <a:avLst/>
          </a:prstGeom>
        </p:spPr>
      </p:pic>
      <p:sp>
        <p:nvSpPr>
          <p:cNvPr id="11" name="Tekstvak 16">
            <a:extLst>
              <a:ext uri="{FF2B5EF4-FFF2-40B4-BE49-F238E27FC236}">
                <a16:creationId xmlns:a16="http://schemas.microsoft.com/office/drawing/2014/main" id="{5D6EE91F-8198-D38B-084C-BA7AA465A329}"/>
              </a:ext>
            </a:extLst>
          </p:cNvPr>
          <p:cNvSpPr txBox="1"/>
          <p:nvPr/>
        </p:nvSpPr>
        <p:spPr>
          <a:xfrm>
            <a:off x="10677265" y="2112520"/>
            <a:ext cx="8178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Power BI</a:t>
            </a:r>
            <a:endParaRPr lang="en-US"/>
          </a:p>
        </p:txBody>
      </p:sp>
      <p:sp>
        <p:nvSpPr>
          <p:cNvPr id="12" name="Tekstvak 17">
            <a:extLst>
              <a:ext uri="{FF2B5EF4-FFF2-40B4-BE49-F238E27FC236}">
                <a16:creationId xmlns:a16="http://schemas.microsoft.com/office/drawing/2014/main" id="{DD9C567A-F432-046D-996A-49169F9E3EAD}"/>
              </a:ext>
            </a:extLst>
          </p:cNvPr>
          <p:cNvSpPr txBox="1"/>
          <p:nvPr/>
        </p:nvSpPr>
        <p:spPr>
          <a:xfrm>
            <a:off x="10467425" y="2920212"/>
            <a:ext cx="12057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Synapse</a:t>
            </a:r>
          </a:p>
          <a:p>
            <a:pPr algn="ctr"/>
            <a:r>
              <a:rPr lang="en-US" sz="1200"/>
              <a:t>Data Science</a:t>
            </a:r>
            <a:endParaRPr lang="en-US"/>
          </a:p>
        </p:txBody>
      </p:sp>
      <p:sp>
        <p:nvSpPr>
          <p:cNvPr id="13" name="Tekstvak 18">
            <a:extLst>
              <a:ext uri="{FF2B5EF4-FFF2-40B4-BE49-F238E27FC236}">
                <a16:creationId xmlns:a16="http://schemas.microsoft.com/office/drawing/2014/main" id="{E56F089B-7E12-73B1-EDD3-912C7D2561F2}"/>
              </a:ext>
            </a:extLst>
          </p:cNvPr>
          <p:cNvSpPr txBox="1"/>
          <p:nvPr/>
        </p:nvSpPr>
        <p:spPr>
          <a:xfrm>
            <a:off x="3813592" y="3679298"/>
            <a:ext cx="80823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/>
              <a:t>OneLake</a:t>
            </a:r>
            <a:endParaRPr lang="en-US" sz="1400"/>
          </a:p>
        </p:txBody>
      </p:sp>
      <p:pic>
        <p:nvPicPr>
          <p:cNvPr id="14" name="Afbeelding 20" descr="Afbeelding met Graphics, grafische vormgeving, clipart, creativiteit&#10;&#10;Automatisch gegenereerde beschrijving">
            <a:extLst>
              <a:ext uri="{FF2B5EF4-FFF2-40B4-BE49-F238E27FC236}">
                <a16:creationId xmlns:a16="http://schemas.microsoft.com/office/drawing/2014/main" id="{6EAFFF02-2B45-0069-44FA-B4325A4292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0501" y="3644990"/>
            <a:ext cx="423782" cy="424609"/>
          </a:xfrm>
          <a:prstGeom prst="rect">
            <a:avLst/>
          </a:prstGeom>
        </p:spPr>
      </p:pic>
      <p:pic>
        <p:nvPicPr>
          <p:cNvPr id="15" name="Afbeelding 22" descr="Afbeelding met Graphics, Kleurrijkheid, grafische vormgeving, creativiteit&#10;&#10;Automatisch gegenereerde beschrijving">
            <a:extLst>
              <a:ext uri="{FF2B5EF4-FFF2-40B4-BE49-F238E27FC236}">
                <a16:creationId xmlns:a16="http://schemas.microsoft.com/office/drawing/2014/main" id="{E4F4C74E-0192-A2C6-020A-EEA868CEBC5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978" y="4139317"/>
            <a:ext cx="456793" cy="456793"/>
          </a:xfrm>
          <a:prstGeom prst="rect">
            <a:avLst/>
          </a:prstGeom>
        </p:spPr>
      </p:pic>
      <p:sp>
        <p:nvSpPr>
          <p:cNvPr id="16" name="Tekstvak 23">
            <a:extLst>
              <a:ext uri="{FF2B5EF4-FFF2-40B4-BE49-F238E27FC236}">
                <a16:creationId xmlns:a16="http://schemas.microsoft.com/office/drawing/2014/main" id="{7AF0FBBA-2585-5CD5-B967-C233E300CDA9}"/>
              </a:ext>
            </a:extLst>
          </p:cNvPr>
          <p:cNvSpPr txBox="1"/>
          <p:nvPr/>
        </p:nvSpPr>
        <p:spPr>
          <a:xfrm>
            <a:off x="10541977" y="3703744"/>
            <a:ext cx="11689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Data Factory</a:t>
            </a:r>
            <a:endParaRPr lang="en-US"/>
          </a:p>
        </p:txBody>
      </p:sp>
      <p:sp>
        <p:nvSpPr>
          <p:cNvPr id="17" name="Tekstvak 24">
            <a:extLst>
              <a:ext uri="{FF2B5EF4-FFF2-40B4-BE49-F238E27FC236}">
                <a16:creationId xmlns:a16="http://schemas.microsoft.com/office/drawing/2014/main" id="{BD763AE2-533B-9F3F-DB74-CDD6EE9C5F72}"/>
              </a:ext>
            </a:extLst>
          </p:cNvPr>
          <p:cNvSpPr txBox="1"/>
          <p:nvPr/>
        </p:nvSpPr>
        <p:spPr>
          <a:xfrm>
            <a:off x="10511663" y="4220550"/>
            <a:ext cx="12939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Data Activator</a:t>
            </a:r>
            <a:endParaRPr lang="en-US"/>
          </a:p>
        </p:txBody>
      </p:sp>
      <p:pic>
        <p:nvPicPr>
          <p:cNvPr id="18" name="Afbeelding 26" descr="Afbeelding met Graphics, Lettertype, logo, grafische vormgeving&#10;&#10;Automatisch gegenereerde beschrijving">
            <a:extLst>
              <a:ext uri="{FF2B5EF4-FFF2-40B4-BE49-F238E27FC236}">
                <a16:creationId xmlns:a16="http://schemas.microsoft.com/office/drawing/2014/main" id="{0F3C62D9-1768-0048-AEAA-6E9908B0CBA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978" y="3099261"/>
            <a:ext cx="673173" cy="244516"/>
          </a:xfrm>
          <a:prstGeom prst="rect">
            <a:avLst/>
          </a:prstGeom>
        </p:spPr>
      </p:pic>
      <p:pic>
        <p:nvPicPr>
          <p:cNvPr id="19" name="Afbeelding 27" descr="Afbeelding met Graphics, grafische vormgeving, clipart, creativiteit&#10;&#10;Automatisch gegenereerde beschrijving">
            <a:extLst>
              <a:ext uri="{FF2B5EF4-FFF2-40B4-BE49-F238E27FC236}">
                <a16:creationId xmlns:a16="http://schemas.microsoft.com/office/drawing/2014/main" id="{BAF68975-6DC5-D930-4325-0436E0CEDE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3179" y="3055993"/>
            <a:ext cx="244040" cy="244516"/>
          </a:xfrm>
          <a:prstGeom prst="rect">
            <a:avLst/>
          </a:prstGeom>
        </p:spPr>
      </p:pic>
      <p:sp>
        <p:nvSpPr>
          <p:cNvPr id="20" name="Tekstvak 28">
            <a:extLst>
              <a:ext uri="{FF2B5EF4-FFF2-40B4-BE49-F238E27FC236}">
                <a16:creationId xmlns:a16="http://schemas.microsoft.com/office/drawing/2014/main" id="{7D46A93C-3B0F-B009-AE6D-4F1517EC1304}"/>
              </a:ext>
            </a:extLst>
          </p:cNvPr>
          <p:cNvSpPr txBox="1"/>
          <p:nvPr/>
        </p:nvSpPr>
        <p:spPr>
          <a:xfrm>
            <a:off x="4082046" y="3028475"/>
            <a:ext cx="5581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00"/>
              <a:t>Data</a:t>
            </a:r>
            <a:br>
              <a:rPr lang="en-US" sz="800"/>
            </a:br>
            <a:r>
              <a:rPr lang="en-US" sz="800"/>
              <a:t>Factory</a:t>
            </a:r>
            <a:endParaRPr lang="en-US" sz="1050"/>
          </a:p>
        </p:txBody>
      </p:sp>
      <p:sp>
        <p:nvSpPr>
          <p:cNvPr id="21" name="Tekstvak 31">
            <a:extLst>
              <a:ext uri="{FF2B5EF4-FFF2-40B4-BE49-F238E27FC236}">
                <a16:creationId xmlns:a16="http://schemas.microsoft.com/office/drawing/2014/main" id="{33FE3462-385B-417C-7950-4871A8EBE58D}"/>
              </a:ext>
            </a:extLst>
          </p:cNvPr>
          <p:cNvSpPr txBox="1"/>
          <p:nvPr/>
        </p:nvSpPr>
        <p:spPr>
          <a:xfrm>
            <a:off x="6521974" y="2629410"/>
            <a:ext cx="8653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/>
              <a:t>   Warehouse</a:t>
            </a:r>
            <a:endParaRPr lang="en-US" sz="1050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E406C287-E688-7B4E-6AEE-1386A6BBB18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92183" y="2975565"/>
            <a:ext cx="304800" cy="314325"/>
          </a:xfrm>
          <a:prstGeom prst="rect">
            <a:avLst/>
          </a:prstGeom>
        </p:spPr>
      </p:pic>
      <p:sp>
        <p:nvSpPr>
          <p:cNvPr id="23" name="Tekstvak 34">
            <a:extLst>
              <a:ext uri="{FF2B5EF4-FFF2-40B4-BE49-F238E27FC236}">
                <a16:creationId xmlns:a16="http://schemas.microsoft.com/office/drawing/2014/main" id="{C83A1D21-EA25-8387-1D95-D480069D9922}"/>
              </a:ext>
            </a:extLst>
          </p:cNvPr>
          <p:cNvSpPr txBox="1"/>
          <p:nvPr/>
        </p:nvSpPr>
        <p:spPr>
          <a:xfrm>
            <a:off x="6649209" y="3046361"/>
            <a:ext cx="72167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00"/>
              <a:t>Lakehouse</a:t>
            </a:r>
            <a:endParaRPr lang="en-US" sz="1050"/>
          </a:p>
        </p:txBody>
      </p:sp>
      <p:pic>
        <p:nvPicPr>
          <p:cNvPr id="24" name="Afbeelding 36" descr="Afbeelding met schermopname, Graphics, Elektrisch blauw, grafische vormgeving&#10;&#10;Automatisch gegenereerde beschrijving">
            <a:extLst>
              <a:ext uri="{FF2B5EF4-FFF2-40B4-BE49-F238E27FC236}">
                <a16:creationId xmlns:a16="http://schemas.microsoft.com/office/drawing/2014/main" id="{2ED772D3-0896-F9A8-49E7-4D09064AA8C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3179" y="2545196"/>
            <a:ext cx="244040" cy="244517"/>
          </a:xfrm>
          <a:prstGeom prst="rect">
            <a:avLst/>
          </a:prstGeom>
        </p:spPr>
      </p:pic>
      <p:sp>
        <p:nvSpPr>
          <p:cNvPr id="25" name="Tekstvak 37">
            <a:extLst>
              <a:ext uri="{FF2B5EF4-FFF2-40B4-BE49-F238E27FC236}">
                <a16:creationId xmlns:a16="http://schemas.microsoft.com/office/drawing/2014/main" id="{D0C22537-2D39-E069-8741-8E945D74AF1A}"/>
              </a:ext>
            </a:extLst>
          </p:cNvPr>
          <p:cNvSpPr txBox="1"/>
          <p:nvPr/>
        </p:nvSpPr>
        <p:spPr>
          <a:xfrm>
            <a:off x="4005050" y="2517084"/>
            <a:ext cx="7649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00"/>
              <a:t>Synapse</a:t>
            </a:r>
            <a:br>
              <a:rPr lang="en-US" sz="800"/>
            </a:br>
            <a:r>
              <a:rPr lang="en-US" sz="800"/>
              <a:t>RT Analytics</a:t>
            </a:r>
            <a:endParaRPr lang="en-US" sz="1050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9D1401BE-2C7B-72F8-19D5-0F02DD25F10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201244" y="5852704"/>
            <a:ext cx="359385" cy="359385"/>
          </a:xfrm>
          <a:prstGeom prst="rect">
            <a:avLst/>
          </a:prstGeom>
        </p:spPr>
      </p:pic>
      <p:sp>
        <p:nvSpPr>
          <p:cNvPr id="27" name="Tekstvak 41">
            <a:extLst>
              <a:ext uri="{FF2B5EF4-FFF2-40B4-BE49-F238E27FC236}">
                <a16:creationId xmlns:a16="http://schemas.microsoft.com/office/drawing/2014/main" id="{FB943026-527A-C4F6-A576-A797FB4E92EB}"/>
              </a:ext>
            </a:extLst>
          </p:cNvPr>
          <p:cNvSpPr txBox="1"/>
          <p:nvPr/>
        </p:nvSpPr>
        <p:spPr>
          <a:xfrm>
            <a:off x="1560629" y="5893896"/>
            <a:ext cx="7585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err="1"/>
              <a:t>Entra</a:t>
            </a:r>
            <a:r>
              <a:rPr lang="en-US" sz="1200"/>
              <a:t> ID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3F264B7D-138F-13B0-4AFB-6D43BC7525D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80839" y="6313253"/>
            <a:ext cx="359385" cy="359385"/>
          </a:xfrm>
          <a:prstGeom prst="rect">
            <a:avLst/>
          </a:prstGeom>
        </p:spPr>
      </p:pic>
      <p:sp>
        <p:nvSpPr>
          <p:cNvPr id="29" name="Tekstvak 44">
            <a:extLst>
              <a:ext uri="{FF2B5EF4-FFF2-40B4-BE49-F238E27FC236}">
                <a16:creationId xmlns:a16="http://schemas.microsoft.com/office/drawing/2014/main" id="{E90B5B8E-570D-C36B-C9E9-A5B1DC0AF132}"/>
              </a:ext>
            </a:extLst>
          </p:cNvPr>
          <p:cNvSpPr txBox="1"/>
          <p:nvPr/>
        </p:nvSpPr>
        <p:spPr>
          <a:xfrm>
            <a:off x="1560629" y="6354445"/>
            <a:ext cx="8899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Key Vault</a:t>
            </a:r>
            <a:endParaRPr lang="en-US"/>
          </a:p>
        </p:txBody>
      </p:sp>
      <p:sp>
        <p:nvSpPr>
          <p:cNvPr id="30" name="Tekstvak 47">
            <a:extLst>
              <a:ext uri="{FF2B5EF4-FFF2-40B4-BE49-F238E27FC236}">
                <a16:creationId xmlns:a16="http://schemas.microsoft.com/office/drawing/2014/main" id="{9A29DFB2-80CE-9D20-E248-BF6AF05317AB}"/>
              </a:ext>
            </a:extLst>
          </p:cNvPr>
          <p:cNvSpPr txBox="1"/>
          <p:nvPr/>
        </p:nvSpPr>
        <p:spPr>
          <a:xfrm>
            <a:off x="2774263" y="5893896"/>
            <a:ext cx="7585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Purview</a:t>
            </a:r>
            <a:endParaRPr lang="en-US"/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EA6F7F7B-0A1E-BAB5-CA91-3ACD68B2117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459644" y="5852702"/>
            <a:ext cx="359385" cy="359385"/>
          </a:xfrm>
          <a:prstGeom prst="rect">
            <a:avLst/>
          </a:prstGeom>
        </p:spPr>
      </p:pic>
      <p:pic>
        <p:nvPicPr>
          <p:cNvPr id="32" name="Afbeelding 50" descr="Afbeelding met Graphics, Lettertype, logo, grafische vormgeving&#10;&#10;Automatisch gegenereerde beschrijving">
            <a:extLst>
              <a:ext uri="{FF2B5EF4-FFF2-40B4-BE49-F238E27FC236}">
                <a16:creationId xmlns:a16="http://schemas.microsoft.com/office/drawing/2014/main" id="{2CDFEF84-EC83-3287-9734-E7BE41A00F5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5761" y="6375601"/>
            <a:ext cx="673173" cy="244516"/>
          </a:xfrm>
          <a:prstGeom prst="rect">
            <a:avLst/>
          </a:prstGeom>
        </p:spPr>
      </p:pic>
      <p:sp>
        <p:nvSpPr>
          <p:cNvPr id="33" name="Rechthoek 52">
            <a:extLst>
              <a:ext uri="{FF2B5EF4-FFF2-40B4-BE49-F238E27FC236}">
                <a16:creationId xmlns:a16="http://schemas.microsoft.com/office/drawing/2014/main" id="{D7490D1A-A44E-4B69-9C2D-F3413DEAF3DA}"/>
              </a:ext>
            </a:extLst>
          </p:cNvPr>
          <p:cNvSpPr/>
          <p:nvPr/>
        </p:nvSpPr>
        <p:spPr>
          <a:xfrm>
            <a:off x="3760952" y="5870512"/>
            <a:ext cx="4417524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kstvak 51">
            <a:extLst>
              <a:ext uri="{FF2B5EF4-FFF2-40B4-BE49-F238E27FC236}">
                <a16:creationId xmlns:a16="http://schemas.microsoft.com/office/drawing/2014/main" id="{1B3AF3E3-3FBE-39E9-91C3-6E82F1A99920}"/>
              </a:ext>
            </a:extLst>
          </p:cNvPr>
          <p:cNvSpPr txBox="1"/>
          <p:nvPr/>
        </p:nvSpPr>
        <p:spPr>
          <a:xfrm>
            <a:off x="4062546" y="5883009"/>
            <a:ext cx="779381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/>
              <a:t>DevOps</a:t>
            </a:r>
            <a:endParaRPr lang="en-US"/>
          </a:p>
        </p:txBody>
      </p:sp>
      <p:pic>
        <p:nvPicPr>
          <p:cNvPr id="35" name="Picture 2" descr="Azure Devops Logo PNG vector in SVG, PDF, AI, CDR format">
            <a:extLst>
              <a:ext uri="{FF2B5EF4-FFF2-40B4-BE49-F238E27FC236}">
                <a16:creationId xmlns:a16="http://schemas.microsoft.com/office/drawing/2014/main" id="{DFA38FCC-5085-8AA3-E90C-937C58A88E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9916" y="5853794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Afbeelding 53" descr="Afbeelding met Graphics, grafische vormgeving, clipart, creativiteit&#10;&#10;Automatisch gegenereerde beschrijving">
            <a:extLst>
              <a:ext uri="{FF2B5EF4-FFF2-40B4-BE49-F238E27FC236}">
                <a16:creationId xmlns:a16="http://schemas.microsoft.com/office/drawing/2014/main" id="{77FAEA7A-59C7-2B05-18AC-733C4A755D8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7957" y="5905667"/>
            <a:ext cx="244801" cy="245279"/>
          </a:xfrm>
          <a:prstGeom prst="rect">
            <a:avLst/>
          </a:prstGeom>
        </p:spPr>
      </p:pic>
      <p:sp>
        <p:nvSpPr>
          <p:cNvPr id="37" name="Tekstvak 54">
            <a:extLst>
              <a:ext uri="{FF2B5EF4-FFF2-40B4-BE49-F238E27FC236}">
                <a16:creationId xmlns:a16="http://schemas.microsoft.com/office/drawing/2014/main" id="{76FD48B8-4E39-3A96-1BE2-96E3AF19829C}"/>
              </a:ext>
            </a:extLst>
          </p:cNvPr>
          <p:cNvSpPr txBox="1"/>
          <p:nvPr/>
        </p:nvSpPr>
        <p:spPr>
          <a:xfrm>
            <a:off x="6375133" y="5889806"/>
            <a:ext cx="11689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Data Factory</a:t>
            </a:r>
            <a:endParaRPr lang="en-US"/>
          </a:p>
        </p:txBody>
      </p:sp>
      <p:sp>
        <p:nvSpPr>
          <p:cNvPr id="38" name="Tekstvak 55">
            <a:extLst>
              <a:ext uri="{FF2B5EF4-FFF2-40B4-BE49-F238E27FC236}">
                <a16:creationId xmlns:a16="http://schemas.microsoft.com/office/drawing/2014/main" id="{28D2F317-8E0D-01AB-52FD-77D3D69B41BA}"/>
              </a:ext>
            </a:extLst>
          </p:cNvPr>
          <p:cNvSpPr txBox="1"/>
          <p:nvPr/>
        </p:nvSpPr>
        <p:spPr>
          <a:xfrm>
            <a:off x="7913245" y="5883009"/>
            <a:ext cx="779381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/>
              <a:t>DevOps</a:t>
            </a:r>
            <a:endParaRPr lang="en-US"/>
          </a:p>
        </p:txBody>
      </p:sp>
      <p:pic>
        <p:nvPicPr>
          <p:cNvPr id="39" name="Picture 2" descr="Azure Devops Logo PNG vector in SVG, PDF, AI, CDR format">
            <a:extLst>
              <a:ext uri="{FF2B5EF4-FFF2-40B4-BE49-F238E27FC236}">
                <a16:creationId xmlns:a16="http://schemas.microsoft.com/office/drawing/2014/main" id="{8DEE8351-1E5E-3FB7-ACCF-3197A340D2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0615" y="5853794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" descr="Azure Repos Logo PNG vector in SVG, PDF, AI, CDR format">
            <a:extLst>
              <a:ext uri="{FF2B5EF4-FFF2-40B4-BE49-F238E27FC236}">
                <a16:creationId xmlns:a16="http://schemas.microsoft.com/office/drawing/2014/main" id="{619DA9D4-2447-2AB1-1905-7B9ADCEB3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2629" y="6254330"/>
            <a:ext cx="502432" cy="377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kstvak 58">
            <a:extLst>
              <a:ext uri="{FF2B5EF4-FFF2-40B4-BE49-F238E27FC236}">
                <a16:creationId xmlns:a16="http://schemas.microsoft.com/office/drawing/2014/main" id="{9DEEF073-ED8F-FFE5-6704-6EF501C0CDEC}"/>
              </a:ext>
            </a:extLst>
          </p:cNvPr>
          <p:cNvSpPr txBox="1"/>
          <p:nvPr/>
        </p:nvSpPr>
        <p:spPr>
          <a:xfrm>
            <a:off x="7913245" y="6313253"/>
            <a:ext cx="6415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Repos</a:t>
            </a:r>
            <a:endParaRPr lang="en-US"/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80490792-2CFF-465C-3A07-58CD8F3DB84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8783982" y="5877355"/>
            <a:ext cx="301900" cy="301900"/>
          </a:xfrm>
          <a:prstGeom prst="rect">
            <a:avLst/>
          </a:prstGeom>
        </p:spPr>
      </p:pic>
      <p:sp>
        <p:nvSpPr>
          <p:cNvPr id="43" name="Tekstvak 1030">
            <a:extLst>
              <a:ext uri="{FF2B5EF4-FFF2-40B4-BE49-F238E27FC236}">
                <a16:creationId xmlns:a16="http://schemas.microsoft.com/office/drawing/2014/main" id="{A93821CB-CE07-7EDA-B322-4BD8BDAF393A}"/>
              </a:ext>
            </a:extLst>
          </p:cNvPr>
          <p:cNvSpPr txBox="1"/>
          <p:nvPr/>
        </p:nvSpPr>
        <p:spPr>
          <a:xfrm>
            <a:off x="9053195" y="5877355"/>
            <a:ext cx="16081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Cost Management</a:t>
            </a:r>
            <a:endParaRPr lang="en-US"/>
          </a:p>
        </p:txBody>
      </p:sp>
      <p:pic>
        <p:nvPicPr>
          <p:cNvPr id="44" name="Afbeelding 1031" descr="Afbeelding met geel, schermopname, ontwerp&#10;&#10;Automatisch gegenereerde beschrijving">
            <a:extLst>
              <a:ext uri="{FF2B5EF4-FFF2-40B4-BE49-F238E27FC236}">
                <a16:creationId xmlns:a16="http://schemas.microsoft.com/office/drawing/2014/main" id="{BA6C5328-EE37-CDF7-1B89-D2F1C4FC0DB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6223" y="6303623"/>
            <a:ext cx="273057" cy="273591"/>
          </a:xfrm>
          <a:prstGeom prst="rect">
            <a:avLst/>
          </a:prstGeom>
        </p:spPr>
      </p:pic>
      <p:sp>
        <p:nvSpPr>
          <p:cNvPr id="45" name="Tekstvak 1032">
            <a:extLst>
              <a:ext uri="{FF2B5EF4-FFF2-40B4-BE49-F238E27FC236}">
                <a16:creationId xmlns:a16="http://schemas.microsoft.com/office/drawing/2014/main" id="{6C25D305-3621-297C-BA06-B94EF0D86CE6}"/>
              </a:ext>
            </a:extLst>
          </p:cNvPr>
          <p:cNvSpPr txBox="1"/>
          <p:nvPr/>
        </p:nvSpPr>
        <p:spPr>
          <a:xfrm>
            <a:off x="9066339" y="6313253"/>
            <a:ext cx="8178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Power BI</a:t>
            </a:r>
            <a:endParaRPr lang="en-US"/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CC8D065A-590F-C891-E5FE-3C9223DE610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6369574" y="2559855"/>
            <a:ext cx="304800" cy="314325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C72CD42B-6EDC-B748-BD3C-1FCA18B14F95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074686" y="2541313"/>
            <a:ext cx="304800" cy="314325"/>
          </a:xfrm>
          <a:prstGeom prst="rect">
            <a:avLst/>
          </a:prstGeom>
        </p:spPr>
      </p:pic>
      <p:sp>
        <p:nvSpPr>
          <p:cNvPr id="48" name="Tekstvak 1043">
            <a:extLst>
              <a:ext uri="{FF2B5EF4-FFF2-40B4-BE49-F238E27FC236}">
                <a16:creationId xmlns:a16="http://schemas.microsoft.com/office/drawing/2014/main" id="{999DC872-FA44-86F5-1E6C-076A06322321}"/>
              </a:ext>
            </a:extLst>
          </p:cNvPr>
          <p:cNvSpPr txBox="1"/>
          <p:nvPr/>
        </p:nvSpPr>
        <p:spPr>
          <a:xfrm>
            <a:off x="5227086" y="2603650"/>
            <a:ext cx="8653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/>
              <a:t>   Notebooks</a:t>
            </a:r>
            <a:endParaRPr lang="en-US" sz="1050"/>
          </a:p>
        </p:txBody>
      </p:sp>
      <p:pic>
        <p:nvPicPr>
          <p:cNvPr id="49" name="Picture 2" descr="Getting started with Terraform in DevOps - Aviator Blog">
            <a:extLst>
              <a:ext uri="{FF2B5EF4-FFF2-40B4-BE49-F238E27FC236}">
                <a16:creationId xmlns:a16="http://schemas.microsoft.com/office/drawing/2014/main" id="{8BBDAB2E-B452-E1B5-F7E0-40F38B6C27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9416" y="6291684"/>
            <a:ext cx="527460" cy="395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Tekstvak 2">
            <a:extLst>
              <a:ext uri="{FF2B5EF4-FFF2-40B4-BE49-F238E27FC236}">
                <a16:creationId xmlns:a16="http://schemas.microsoft.com/office/drawing/2014/main" id="{F5D1BDCE-418A-9382-A237-D58F16243C82}"/>
              </a:ext>
            </a:extLst>
          </p:cNvPr>
          <p:cNvSpPr txBox="1"/>
          <p:nvPr/>
        </p:nvSpPr>
        <p:spPr>
          <a:xfrm>
            <a:off x="4046979" y="6351051"/>
            <a:ext cx="888385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/>
              <a:t>Terrafor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175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0790B-D98A-B05A-5AC2-E06A8DF430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eat potential, but…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C1E64A-374C-7F01-4DFF-FEC6394B17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90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some enterprise features are still missing</a:t>
            </a:r>
          </a:p>
          <a:p>
            <a:pPr lvl="1"/>
            <a:r>
              <a:rPr lang="en-US" dirty="0"/>
              <a:t>Key Vault (now in preview)</a:t>
            </a:r>
          </a:p>
          <a:p>
            <a:pPr lvl="1"/>
            <a:r>
              <a:rPr lang="en-US" dirty="0"/>
              <a:t>CI / CD for all artefacts (almost done now)</a:t>
            </a:r>
          </a:p>
          <a:p>
            <a:pPr lvl="1"/>
            <a:endParaRPr lang="en-US" dirty="0"/>
          </a:p>
          <a:p>
            <a:r>
              <a:rPr lang="en-US" dirty="0"/>
              <a:t>T-SQL is not fully supported (yet?)</a:t>
            </a:r>
          </a:p>
          <a:p>
            <a:pPr lvl="1"/>
            <a:r>
              <a:rPr lang="en-US" dirty="0"/>
              <a:t>IDENTITY (coming soon!)</a:t>
            </a:r>
          </a:p>
          <a:p>
            <a:pPr lvl="1"/>
            <a:r>
              <a:rPr lang="en-US" dirty="0"/>
              <a:t>PK &amp; FK</a:t>
            </a:r>
          </a:p>
          <a:p>
            <a:pPr lvl="1"/>
            <a:r>
              <a:rPr lang="en-US" dirty="0"/>
              <a:t>limited VARCHAR(MAX)</a:t>
            </a:r>
          </a:p>
          <a:p>
            <a:pPr lvl="1"/>
            <a:r>
              <a:rPr lang="en-US" b="1" dirty="0"/>
              <a:t>but we now have SQL DB! (unfortunately, it’s slow and expensive)</a:t>
            </a:r>
          </a:p>
          <a:p>
            <a:pPr lvl="1"/>
            <a:endParaRPr lang="en-US" dirty="0"/>
          </a:p>
          <a:p>
            <a:r>
              <a:rPr lang="en-US" dirty="0"/>
              <a:t>licensing with capacities can be confusing</a:t>
            </a:r>
          </a:p>
          <a:p>
            <a:pPr lvl="1"/>
            <a:r>
              <a:rPr lang="en-US" dirty="0"/>
              <a:t>how much did we consume exactly?</a:t>
            </a:r>
          </a:p>
          <a:p>
            <a:r>
              <a:rPr lang="en-US" dirty="0"/>
              <a:t>start low with an F2?</a:t>
            </a:r>
          </a:p>
          <a:p>
            <a:pPr lvl="1"/>
            <a:r>
              <a:rPr lang="en-US" dirty="0"/>
              <a:t>pause when not needed (but be careful!)</a:t>
            </a:r>
          </a:p>
          <a:p>
            <a:r>
              <a:rPr lang="en-US" dirty="0"/>
              <a:t>you still need Power BI Pro</a:t>
            </a:r>
          </a:p>
          <a:p>
            <a:r>
              <a:rPr lang="en-US" dirty="0"/>
              <a:t>I’d still use Power BI import mode</a:t>
            </a:r>
            <a:endParaRPr lang="nl-BE" dirty="0"/>
          </a:p>
        </p:txBody>
      </p:sp>
      <p:pic>
        <p:nvPicPr>
          <p:cNvPr id="4" name="Afbeelding 9" descr="Afbeelding met schermopname, Graphics, grafische vormgeving, ontwerp&#10;&#10;Automatisch gegenereerde beschrijving">
            <a:extLst>
              <a:ext uri="{FF2B5EF4-FFF2-40B4-BE49-F238E27FC236}">
                <a16:creationId xmlns:a16="http://schemas.microsoft.com/office/drawing/2014/main" id="{2B4A5223-918D-0239-B3DF-E2610AAD8A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8940" y="886129"/>
            <a:ext cx="1979993" cy="1979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335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3E8F53-91A0-DB72-06BF-EC90D6F85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498654-97BC-987F-BBBD-854D331C9C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Fabric February: An End-to-End Showcase of a Metadata-Driven Microsoft Fabric Framework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40086375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conclusion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1395989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2E5F937-9B2A-A5F8-4111-0535AFABD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BF2077-9174-4522-0026-38AE8B0FB1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ocus on having a metadata driven architecture</a:t>
            </a:r>
          </a:p>
          <a:p>
            <a:endParaRPr lang="en-US" dirty="0"/>
          </a:p>
          <a:p>
            <a:r>
              <a:rPr lang="en-US" dirty="0"/>
              <a:t>minimize costs in ADF</a:t>
            </a:r>
          </a:p>
          <a:p>
            <a:pPr lvl="1"/>
            <a:r>
              <a:rPr lang="en-US" dirty="0"/>
              <a:t>change the defaults</a:t>
            </a:r>
          </a:p>
          <a:p>
            <a:pPr lvl="1"/>
            <a:r>
              <a:rPr lang="en-US" dirty="0"/>
              <a:t>outsource the compute</a:t>
            </a:r>
          </a:p>
          <a:p>
            <a:pPr lvl="1"/>
            <a:r>
              <a:rPr lang="en-US" dirty="0"/>
              <a:t>don’t run it every minute</a:t>
            </a:r>
          </a:p>
          <a:p>
            <a:endParaRPr lang="en-US" dirty="0"/>
          </a:p>
          <a:p>
            <a:r>
              <a:rPr lang="en-US" dirty="0"/>
              <a:t>scale the database up/down when needed</a:t>
            </a:r>
          </a:p>
          <a:p>
            <a:pPr lvl="1"/>
            <a:r>
              <a:rPr lang="en-US" dirty="0"/>
              <a:t>write efficient SQL so you can use a lower tier</a:t>
            </a:r>
          </a:p>
          <a:p>
            <a:pPr lvl="1"/>
            <a:endParaRPr lang="en-US" dirty="0"/>
          </a:p>
          <a:p>
            <a:r>
              <a:rPr lang="en-US" dirty="0"/>
              <a:t>and don’t forget … </a:t>
            </a:r>
            <a:r>
              <a:rPr lang="en-US" b="1" dirty="0"/>
              <a:t>you</a:t>
            </a:r>
            <a:r>
              <a:rPr lang="en-US" dirty="0"/>
              <a:t> are the most expensive part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10448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3E4CE2-F414-9438-B04B-A6BF87D5DC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C58791C3-20F5-D1FD-C830-2871BBD97F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4881675"/>
              </p:ext>
            </p:extLst>
          </p:nvPr>
        </p:nvGraphicFramePr>
        <p:xfrm>
          <a:off x="2032000" y="1289981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595672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E7F3AC-AAB3-0E9E-BC3E-D3D01D7C3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6232A9-88B1-98EC-DF6A-4EE1105417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480063"/>
            <a:ext cx="5401751" cy="489566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5C253AF-914F-5F65-4E28-66625DA2BC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6526" y="1883096"/>
            <a:ext cx="5057274" cy="4492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2394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59C1DD1-BE69-18BA-56C8-DF976FABE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38200" y="1656085"/>
            <a:ext cx="10515600" cy="4719638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7200" dirty="0"/>
          </a:p>
          <a:p>
            <a:pPr marL="0" indent="0">
              <a:buNone/>
            </a:pPr>
            <a:r>
              <a:rPr lang="en-US" sz="7200" dirty="0"/>
              <a:t>if we can get the cost down to €100…</a:t>
            </a:r>
            <a:endParaRPr lang="nl-BE" sz="7200" b="1" dirty="0"/>
          </a:p>
        </p:txBody>
      </p:sp>
    </p:spTree>
    <p:extLst>
      <p:ext uri="{BB962C8B-B14F-4D97-AF65-F5344CB8AC3E}">
        <p14:creationId xmlns:p14="http://schemas.microsoft.com/office/powerpoint/2010/main" val="1604977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59C1DD1-BE69-18BA-56C8-DF976FABE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</p:spPr>
        <p:txBody>
          <a:bodyPr/>
          <a:lstStyle/>
          <a:p>
            <a:r>
              <a:rPr lang="en-US" dirty="0"/>
              <a:t>what’s the most expensive part?</a:t>
            </a:r>
            <a:endParaRPr lang="nl-BE" dirty="0"/>
          </a:p>
        </p:txBody>
      </p:sp>
      <p:pic>
        <p:nvPicPr>
          <p:cNvPr id="6" name="Content Placeholder 5" descr="A black background with white spots&#10;&#10;Description automatically generated">
            <a:extLst>
              <a:ext uri="{FF2B5EF4-FFF2-40B4-BE49-F238E27FC236}">
                <a16:creationId xmlns:a16="http://schemas.microsoft.com/office/drawing/2014/main" id="{CD511024-C763-51D3-2DE7-FF46F3A72A1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3098" y="1058741"/>
            <a:ext cx="5525804" cy="5607582"/>
          </a:xfrm>
        </p:spPr>
      </p:pic>
    </p:spTree>
    <p:extLst>
      <p:ext uri="{BB962C8B-B14F-4D97-AF65-F5344CB8AC3E}">
        <p14:creationId xmlns:p14="http://schemas.microsoft.com/office/powerpoint/2010/main" val="3398869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6000" dirty="0"/>
              <a:t>aside from setting up a </a:t>
            </a:r>
            <a:r>
              <a:rPr lang="en-US" sz="6000" b="1" dirty="0"/>
              <a:t>cost-effective architecture</a:t>
            </a:r>
            <a:r>
              <a:rPr lang="en-US" sz="6000" dirty="0"/>
              <a:t>,</a:t>
            </a:r>
            <a:br>
              <a:rPr lang="en-US" sz="6000" dirty="0"/>
            </a:br>
            <a:br>
              <a:rPr lang="en-US" sz="6000" dirty="0"/>
            </a:br>
            <a:r>
              <a:rPr lang="en-US" sz="6000" dirty="0"/>
              <a:t>we’ll also optimize </a:t>
            </a:r>
            <a:r>
              <a:rPr lang="en-US" sz="6000" b="1" dirty="0"/>
              <a:t>development efficiency</a:t>
            </a:r>
            <a:endParaRPr lang="nl-BE" sz="6000" b="1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59C1DD1-BE69-18BA-56C8-DF976FABE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</p:spPr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806165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2.xml><?xml version="1.0" encoding="utf-8"?>
<a:theme xmlns:a="http://schemas.openxmlformats.org/drawingml/2006/main" name="1_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ass-summit-2022-speaker-template</Template>
  <TotalTime>50650</TotalTime>
  <Words>1309</Words>
  <Application>Microsoft Office PowerPoint</Application>
  <PresentationFormat>Widescreen</PresentationFormat>
  <Paragraphs>378</Paragraphs>
  <Slides>60</Slides>
  <Notes>18</Notes>
  <HiddenSlides>2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0</vt:i4>
      </vt:variant>
    </vt:vector>
  </HeadingPairs>
  <TitlesOfParts>
    <vt:vector size="70" baseType="lpstr">
      <vt:lpstr>Arial</vt:lpstr>
      <vt:lpstr>Borcer</vt:lpstr>
      <vt:lpstr>Calibri</vt:lpstr>
      <vt:lpstr>Century Gothic</vt:lpstr>
      <vt:lpstr>Century Gothic Bold</vt:lpstr>
      <vt:lpstr>IBM Plex Sans</vt:lpstr>
      <vt:lpstr>Wingdings</vt:lpstr>
      <vt:lpstr>AE Template</vt:lpstr>
      <vt:lpstr>1_AE Template</vt:lpstr>
      <vt:lpstr>think-cell Slide</vt:lpstr>
      <vt:lpstr>PowerPoint Presentation</vt:lpstr>
      <vt:lpstr>Contact</vt:lpstr>
      <vt:lpstr>Building a €100 data warehouse</vt:lpstr>
      <vt:lpstr>Building a €100 data warehouse</vt:lpstr>
      <vt:lpstr>Building a €100 data warehouse</vt:lpstr>
      <vt:lpstr>Building a €100 data warehouse</vt:lpstr>
      <vt:lpstr>Building a €100 data warehouse</vt:lpstr>
      <vt:lpstr>what’s the most expensive part?</vt:lpstr>
      <vt:lpstr>Building a €100 data warehouse</vt:lpstr>
      <vt:lpstr>agenda</vt:lpstr>
      <vt:lpstr>architecture</vt:lpstr>
      <vt:lpstr>typical architecture</vt:lpstr>
      <vt:lpstr>we’re building a (simple) DWH</vt:lpstr>
      <vt:lpstr>we’re building a (simple) DWH</vt:lpstr>
      <vt:lpstr>we’re building a (simple) DWH</vt:lpstr>
      <vt:lpstr>ingest</vt:lpstr>
      <vt:lpstr>Azure Data Factory</vt:lpstr>
      <vt:lpstr>metadata driven</vt:lpstr>
      <vt:lpstr>parameterize everything</vt:lpstr>
      <vt:lpstr>parameterize everything</vt:lpstr>
      <vt:lpstr>fetch metadata &amp; loop</vt:lpstr>
      <vt:lpstr>fill in parameters at runtime</vt:lpstr>
      <vt:lpstr>cost</vt:lpstr>
      <vt:lpstr>important to remember</vt:lpstr>
      <vt:lpstr>example</vt:lpstr>
      <vt:lpstr>example</vt:lpstr>
      <vt:lpstr>50% cost saving with one single config</vt:lpstr>
      <vt:lpstr>move compute to somewhere else</vt:lpstr>
      <vt:lpstr>Azure Functions</vt:lpstr>
      <vt:lpstr>resources</vt:lpstr>
      <vt:lpstr>  demo</vt:lpstr>
      <vt:lpstr>transform</vt:lpstr>
      <vt:lpstr>it’s all SQL</vt:lpstr>
      <vt:lpstr>and it’s all about patterns</vt:lpstr>
      <vt:lpstr>type 1 dimension</vt:lpstr>
      <vt:lpstr>type 1 dimension</vt:lpstr>
      <vt:lpstr>type 2 dimension</vt:lpstr>
      <vt:lpstr>type 2 dimension</vt:lpstr>
      <vt:lpstr>facts</vt:lpstr>
      <vt:lpstr>exceptions</vt:lpstr>
      <vt:lpstr>metadata</vt:lpstr>
      <vt:lpstr>ELT flow</vt:lpstr>
      <vt:lpstr>ELT flow – load DWH</vt:lpstr>
      <vt:lpstr>scale DWH up and down</vt:lpstr>
      <vt:lpstr>resources</vt:lpstr>
      <vt:lpstr>  demo</vt:lpstr>
      <vt:lpstr>model &amp; serve</vt:lpstr>
      <vt:lpstr>Power BI</vt:lpstr>
      <vt:lpstr>Power BI</vt:lpstr>
      <vt:lpstr>PowerPoint Presentation</vt:lpstr>
      <vt:lpstr>resources</vt:lpstr>
      <vt:lpstr>CI / CD</vt:lpstr>
      <vt:lpstr>Azure Devops</vt:lpstr>
      <vt:lpstr>what about Fabric?</vt:lpstr>
      <vt:lpstr>everything in one single platform</vt:lpstr>
      <vt:lpstr>great potential, but…</vt:lpstr>
      <vt:lpstr>resources</vt:lpstr>
      <vt:lpstr>  conclusion</vt:lpstr>
      <vt:lpstr>Building a €100 data warehouse</vt:lpstr>
      <vt:lpstr>Building a €100 data warehouse</vt:lpstr>
    </vt:vector>
  </TitlesOfParts>
  <Company>A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grate Your SSIS Skills to Azure Data Factory</dc:title>
  <dc:creator>Koen Verbeeck</dc:creator>
  <cp:lastModifiedBy>Koen Verbeeck</cp:lastModifiedBy>
  <cp:revision>15</cp:revision>
  <dcterms:created xsi:type="dcterms:W3CDTF">2022-08-23T10:53:58Z</dcterms:created>
  <dcterms:modified xsi:type="dcterms:W3CDTF">2025-09-20T09:01:29Z</dcterms:modified>
</cp:coreProperties>
</file>